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314" r:id="rId5"/>
    <p:sldId id="318" r:id="rId6"/>
    <p:sldId id="261" r:id="rId7"/>
    <p:sldId id="298" r:id="rId8"/>
    <p:sldId id="262" r:id="rId9"/>
    <p:sldId id="317" r:id="rId10"/>
  </p:sldIdLst>
  <p:sldSz cx="9144000" cy="5143500" type="screen16x9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kumimoji="0" lang="de-DE" sz="1400" b="0" i="0" u="none" kern="1200" baseline="0">
        <a:solidFill>
          <a:schemeClr val="tx1"/>
        </a:solidFill>
        <a:latin typeface="EON Brix Sans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DADE"/>
    <a:srgbClr val="E1EDED"/>
    <a:srgbClr val="7FC7CF"/>
    <a:srgbClr val="1EA2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18" autoAdjust="0"/>
    <p:restoredTop sz="96120" autoAdjust="0"/>
  </p:normalViewPr>
  <p:slideViewPr>
    <p:cSldViewPr snapToGrid="0" snapToObjects="1">
      <p:cViewPr varScale="1">
        <p:scale>
          <a:sx n="105" d="100"/>
          <a:sy n="105" d="100"/>
        </p:scale>
        <p:origin x="998" y="62"/>
      </p:cViewPr>
      <p:guideLst/>
    </p:cSldViewPr>
  </p:slideViewPr>
  <p:outlineViewPr>
    <p:cViewPr>
      <p:scale>
        <a:sx n="33" d="100"/>
        <a:sy n="33" d="100"/>
      </p:scale>
      <p:origin x="0" y="-1961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1" d="100"/>
          <a:sy n="51" d="100"/>
        </p:scale>
        <p:origin x="-2004" y="-4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09832-9B74-420C-8D1C-742B40C38B3E}" type="datetimeFigureOut">
              <a:rPr lang="de-DE" smtClean="0"/>
              <a:t>04.09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BB21D2-EE0C-4F60-9290-A95707687EAD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4098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5BD20B-1595-4AD5-8C42-650ED0B09BCC}" type="datetimeFigureOut">
              <a:rPr lang="de-DE" smtClean="0"/>
              <a:t>04.09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88022-2B66-4C3B-913E-DF7D5DD0D66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8464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405C7DF-5A86-0237-7BF1-CF4139B0F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6122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78000" y="375506"/>
            <a:ext cx="6948000" cy="1025922"/>
          </a:xfrm>
        </p:spPr>
        <p:txBody>
          <a:bodyPr vert="horz" anchor="t" anchorCtr="0">
            <a:spAutoFit/>
          </a:bodyPr>
          <a:lstStyle>
            <a:lvl1pPr algn="l">
              <a:lnSpc>
                <a:spcPts val="4000"/>
              </a:lnSpc>
              <a:defRPr sz="4000" kern="100"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edit presentation title (maximum three lines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78000" y="2134785"/>
            <a:ext cx="4068588" cy="205184"/>
          </a:xfrm>
        </p:spPr>
        <p:txBody>
          <a:bodyPr anchor="b">
            <a:spAutoFit/>
          </a:bodyPr>
          <a:lstStyle>
            <a:lvl1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kern="100" baseline="0">
                <a:solidFill>
                  <a:schemeClr val="accent1"/>
                </a:solidFill>
                <a:latin typeface="+mj-lt"/>
              </a:defRPr>
            </a:lvl1pPr>
            <a:lvl2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2pPr>
            <a:lvl3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3pPr>
            <a:lvl4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4pPr>
            <a:lvl5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5pPr>
            <a:lvl6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6pPr>
            <a:lvl7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7pPr>
            <a:lvl8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8pPr>
            <a:lvl9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Click to edit subtit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378000" y="2426400"/>
            <a:ext cx="1188863" cy="129523"/>
          </a:xfrm>
        </p:spPr>
        <p:txBody>
          <a:bodyPr/>
          <a:lstStyle>
            <a:lvl1pPr marL="0" algn="l">
              <a:lnSpc>
                <a:spcPts val="1125"/>
              </a:lnSpc>
              <a:defRPr sz="800" b="1">
                <a:solidFill>
                  <a:schemeClr val="accent1"/>
                </a:solidFill>
              </a:defRPr>
            </a:lvl1pPr>
            <a:lvl2pPr marL="0" algn="l">
              <a:lnSpc>
                <a:spcPts val="1125"/>
              </a:lnSpc>
              <a:defRPr sz="800" b="1"/>
            </a:lvl2pPr>
            <a:lvl3pPr marL="0" algn="l">
              <a:lnSpc>
                <a:spcPts val="1125"/>
              </a:lnSpc>
              <a:defRPr sz="800" b="1"/>
            </a:lvl3pPr>
            <a:lvl4pPr marL="0" algn="l">
              <a:lnSpc>
                <a:spcPts val="1125"/>
              </a:lnSpc>
              <a:defRPr sz="800" b="1"/>
            </a:lvl4pPr>
            <a:lvl5pPr marL="0" algn="l">
              <a:lnSpc>
                <a:spcPts val="1125"/>
              </a:lnSpc>
              <a:defRPr sz="800" b="1"/>
            </a:lvl5pPr>
            <a:lvl6pPr marL="0" algn="l">
              <a:lnSpc>
                <a:spcPts val="1125"/>
              </a:lnSpc>
              <a:defRPr sz="800" b="1"/>
            </a:lvl6pPr>
            <a:lvl7pPr marL="0" algn="l">
              <a:lnSpc>
                <a:spcPts val="1125"/>
              </a:lnSpc>
              <a:defRPr sz="800" b="1"/>
            </a:lvl7pPr>
            <a:lvl8pPr marL="0" algn="l">
              <a:lnSpc>
                <a:spcPts val="1125"/>
              </a:lnSpc>
              <a:defRPr sz="800" b="1"/>
            </a:lvl8pPr>
            <a:lvl9pPr marL="0" algn="l">
              <a:lnSpc>
                <a:spcPts val="1125"/>
              </a:lnSpc>
              <a:defRPr sz="800" b="1"/>
            </a:lvl9pPr>
          </a:lstStyle>
          <a:p>
            <a:r>
              <a:rPr lang="en-GB"/>
              <a:t>27 September, 2022</a:t>
            </a:r>
          </a:p>
        </p:txBody>
      </p: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9419" y="4377600"/>
            <a:ext cx="1312377" cy="39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7950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stom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slide title (maximum two lines)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82737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8959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o slidenumber, n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slide title (maximum two lines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901740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Graph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E8EC191-45F5-9383-C0BE-7D920E2A3A16}"/>
              </a:ext>
            </a:extLst>
          </p:cNvPr>
          <p:cNvSpPr/>
          <p:nvPr userDrawn="1"/>
        </p:nvSpPr>
        <p:spPr>
          <a:xfrm>
            <a:off x="0" y="72000"/>
            <a:ext cx="5884863" cy="5071500"/>
          </a:xfrm>
          <a:prstGeom prst="rect">
            <a:avLst/>
          </a:prstGeom>
          <a:solidFill>
            <a:srgbClr val="F9F6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37275" y="378000"/>
            <a:ext cx="2628900" cy="642612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slide title (max. two lines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 hasCustomPrompt="1"/>
          </p:nvPr>
        </p:nvSpPr>
        <p:spPr>
          <a:xfrm>
            <a:off x="6138000" y="1371600"/>
            <a:ext cx="2624400" cy="3051175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 hasCustomPrompt="1"/>
          </p:nvPr>
        </p:nvSpPr>
        <p:spPr>
          <a:xfrm>
            <a:off x="376237" y="1023578"/>
            <a:ext cx="5292000" cy="3312000"/>
          </a:xfrm>
        </p:spPr>
        <p:txBody>
          <a:bodyPr/>
          <a:lstStyle>
            <a:lvl1pPr>
              <a:lnSpc>
                <a:spcPts val="1750"/>
              </a:lnSpc>
              <a:defRPr sz="1400"/>
            </a:lvl1pPr>
            <a:lvl2pPr>
              <a:lnSpc>
                <a:spcPts val="1750"/>
              </a:lnSpc>
              <a:defRPr sz="1400"/>
            </a:lvl2pPr>
            <a:lvl3pPr>
              <a:lnSpc>
                <a:spcPts val="1750"/>
              </a:lnSpc>
              <a:defRPr sz="1400"/>
            </a:lvl3pPr>
            <a:lvl4pPr>
              <a:lnSpc>
                <a:spcPts val="1750"/>
              </a:lnSpc>
              <a:defRPr sz="1400"/>
            </a:lvl4pPr>
            <a:lvl5pPr>
              <a:lnSpc>
                <a:spcPts val="1750"/>
              </a:lnSpc>
              <a:defRPr sz="1400"/>
            </a:lvl5pPr>
          </a:lstStyle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376237" y="4422775"/>
            <a:ext cx="5292000" cy="126509"/>
          </a:xfrm>
        </p:spPr>
        <p:txBody>
          <a:bodyPr wrap="square" anchor="t" anchorCtr="0">
            <a:spAutoFit/>
          </a:bodyPr>
          <a:lstStyle>
            <a:lvl1pPr>
              <a:lnSpc>
                <a:spcPts val="1125"/>
              </a:lnSpc>
              <a:defRPr sz="700" b="0">
                <a:solidFill>
                  <a:schemeClr val="tx1"/>
                </a:solidFill>
                <a:latin typeface="+mn-lt"/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en-GB" noProof="0"/>
              <a:t>Click to edit footnote/sourc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BB296D3B-97D9-B15F-DDAE-91B071AB850D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376237" y="378000"/>
            <a:ext cx="5292000" cy="214611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2pPr>
            <a:lvl3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3pPr>
            <a:lvl4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4pPr>
            <a:lvl5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5pPr>
            <a:lvl6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6pPr>
            <a:lvl7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7pPr>
            <a:lvl8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8pPr>
            <a:lvl9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edit chart title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BB3FD1F2-7B8D-15C1-32FA-3539A648C04D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376237" y="625044"/>
            <a:ext cx="5292000" cy="214611"/>
          </a:xfrm>
        </p:spPr>
        <p:txBody>
          <a:bodyPr wrap="square" anchor="t" anchorCtr="0">
            <a:spAutoFit/>
          </a:bodyPr>
          <a:lstStyle>
            <a:lvl1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>
              <a:lnSpc>
                <a:spcPts val="175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edit unit measure</a:t>
            </a:r>
          </a:p>
        </p:txBody>
      </p:sp>
    </p:spTree>
    <p:extLst>
      <p:ext uri="{BB962C8B-B14F-4D97-AF65-F5344CB8AC3E}">
        <p14:creationId xmlns:p14="http://schemas.microsoft.com/office/powerpoint/2010/main" val="7973930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agenda placehold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6238" y="1371600"/>
            <a:ext cx="6948000" cy="3394800"/>
          </a:xfrm>
        </p:spPr>
        <p:txBody>
          <a:bodyPr/>
          <a:lstStyle>
            <a:lvl1pPr marL="396000" indent="-3960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accent1"/>
                </a:solidFill>
                <a:latin typeface="+mn-lt"/>
              </a:defRPr>
            </a:lvl1pPr>
            <a:lvl2pPr marL="395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2pPr>
            <a:lvl3pPr marL="395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3pPr>
            <a:lvl4pPr marL="395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4pPr>
            <a:lvl5pPr marL="395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5pPr>
            <a:lvl6pPr marL="395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6pPr>
            <a:lvl7pPr marL="395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7pPr>
            <a:lvl8pPr marL="395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8pPr>
            <a:lvl9pPr marL="395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edit agenda point</a:t>
            </a:r>
          </a:p>
          <a:p>
            <a:pPr lvl="1"/>
            <a:r>
              <a:rPr lang="en-GB" noProof="0" dirty="0"/>
              <a:t>Second level: description/subpoint</a:t>
            </a:r>
          </a:p>
        </p:txBody>
      </p:sp>
    </p:spTree>
    <p:extLst>
      <p:ext uri="{BB962C8B-B14F-4D97-AF65-F5344CB8AC3E}">
        <p14:creationId xmlns:p14="http://schemas.microsoft.com/office/powerpoint/2010/main" val="7823704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en-GB" noProof="0"/>
              <a:t>Click to edit agenda placehold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76238" y="1371600"/>
            <a:ext cx="4068000" cy="3394800"/>
          </a:xfrm>
        </p:spPr>
        <p:txBody>
          <a:bodyPr>
            <a:noAutofit/>
          </a:bodyPr>
          <a:lstStyle>
            <a:lvl1pPr marL="396000" indent="-3960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  <a:defRPr sz="2000" b="1">
                <a:solidFill>
                  <a:schemeClr val="accent1"/>
                </a:solidFill>
                <a:latin typeface="+mn-lt"/>
              </a:defRPr>
            </a:lvl1pPr>
            <a:lvl2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0000"/>
                </a:solidFill>
                <a:latin typeface="+mn-lt"/>
              </a:defRPr>
            </a:lvl2pPr>
            <a:lvl3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0000"/>
                </a:solidFill>
                <a:latin typeface="+mn-lt"/>
              </a:defRPr>
            </a:lvl3pPr>
            <a:lvl4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0000"/>
                </a:solidFill>
                <a:latin typeface="+mn-lt"/>
              </a:defRPr>
            </a:lvl4pPr>
            <a:lvl5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000000"/>
                </a:solidFill>
                <a:latin typeface="+mn-lt"/>
              </a:defRPr>
            </a:lvl5pPr>
            <a:lvl6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latin typeface="+mn-lt"/>
              </a:defRPr>
            </a:lvl6pPr>
            <a:lvl7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latin typeface="+mn-lt"/>
              </a:defRPr>
            </a:lvl7pPr>
            <a:lvl8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latin typeface="+mn-lt"/>
              </a:defRPr>
            </a:lvl8pPr>
            <a:lvl9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latin typeface="+mn-lt"/>
              </a:defRPr>
            </a:lvl9pPr>
          </a:lstStyle>
          <a:p>
            <a:pPr lvl="0"/>
            <a:r>
              <a:rPr lang="en-GB" noProof="0" dirty="0"/>
              <a:t>Click to edit agenda point</a:t>
            </a:r>
          </a:p>
          <a:p>
            <a:pPr lvl="1"/>
            <a:r>
              <a:rPr lang="en-GB" noProof="0" dirty="0"/>
              <a:t>Second level: description/subpoin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99001" y="1371600"/>
            <a:ext cx="4068000" cy="3394800"/>
          </a:xfrm>
        </p:spPr>
        <p:txBody>
          <a:bodyPr>
            <a:noAutofit/>
          </a:bodyPr>
          <a:lstStyle>
            <a:lvl1pPr marL="396000" indent="-3960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 startAt="6"/>
              <a:defRPr sz="2000" b="1">
                <a:solidFill>
                  <a:schemeClr val="accent1"/>
                </a:solidFill>
                <a:latin typeface="+mn-lt"/>
              </a:defRPr>
            </a:lvl1pPr>
            <a:lvl2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rgbClr val="000000"/>
                </a:solidFill>
                <a:latin typeface="+mn-lt"/>
              </a:defRPr>
            </a:lvl2pPr>
            <a:lvl3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rgbClr val="000000"/>
                </a:solidFill>
                <a:latin typeface="+mn-lt"/>
              </a:defRPr>
            </a:lvl3pPr>
            <a:lvl4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rgbClr val="000000"/>
                </a:solidFill>
                <a:latin typeface="+mn-lt"/>
              </a:defRPr>
            </a:lvl4pPr>
            <a:lvl5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solidFill>
                  <a:srgbClr val="000000"/>
                </a:solidFill>
                <a:latin typeface="+mn-lt"/>
              </a:defRPr>
            </a:lvl5pPr>
            <a:lvl6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latin typeface="+mn-lt"/>
              </a:defRPr>
            </a:lvl6pPr>
            <a:lvl7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latin typeface="+mn-lt"/>
              </a:defRPr>
            </a:lvl7pPr>
            <a:lvl8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latin typeface="+mn-lt"/>
              </a:defRPr>
            </a:lvl8pPr>
            <a:lvl9pPr marL="3960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b="0">
                <a:latin typeface="+mn-lt"/>
              </a:defRPr>
            </a:lvl9pPr>
          </a:lstStyle>
          <a:p>
            <a:pPr lvl="0"/>
            <a:r>
              <a:rPr lang="en-GB" noProof="0" dirty="0"/>
              <a:t>Click to edit agenda point</a:t>
            </a:r>
          </a:p>
          <a:p>
            <a:pPr lvl="1"/>
            <a:r>
              <a:rPr lang="en-GB" noProof="0" dirty="0"/>
              <a:t>Second level: description/subpoint</a:t>
            </a:r>
          </a:p>
        </p:txBody>
      </p:sp>
    </p:spTree>
    <p:extLst>
      <p:ext uri="{BB962C8B-B14F-4D97-AF65-F5344CB8AC3E}">
        <p14:creationId xmlns:p14="http://schemas.microsoft.com/office/powerpoint/2010/main" val="648758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V01">
    <p:bg>
      <p:bgPr>
        <a:solidFill>
          <a:srgbClr val="F59A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8000" y="306000"/>
            <a:ext cx="5488863" cy="1384995"/>
          </a:xfrm>
        </p:spPr>
        <p:txBody>
          <a:bodyPr wrap="square" anchor="t" anchorCtr="0">
            <a:spAutoFit/>
          </a:bodyPr>
          <a:lstStyle>
            <a:lvl1pPr algn="l">
              <a:lnSpc>
                <a:spcPts val="5400"/>
              </a:lnSpc>
              <a:defRPr sz="4800" b="0" cap="none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chapt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CBB259C-5757-1771-2BC3-A6633E6F3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7999" y="3486559"/>
            <a:ext cx="1800000" cy="1641475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22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5pPr>
            <a:lvl6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6pPr>
            <a:lvl7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8pPr>
            <a:lvl9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5682095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V02">
    <p:bg>
      <p:bgPr>
        <a:solidFill>
          <a:srgbClr val="EDEA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8000" y="306000"/>
            <a:ext cx="5488863" cy="1384995"/>
          </a:xfrm>
        </p:spPr>
        <p:txBody>
          <a:bodyPr wrap="square" anchor="t" anchorCtr="0">
            <a:spAutoFit/>
          </a:bodyPr>
          <a:lstStyle>
            <a:lvl1pPr algn="l">
              <a:lnSpc>
                <a:spcPts val="5400"/>
              </a:lnSpc>
              <a:defRPr sz="4800" b="0" cap="none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chapt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CBB259C-5757-1771-2BC3-A6633E6F3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7999" y="3486559"/>
            <a:ext cx="1800000" cy="1641475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22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5pPr>
            <a:lvl6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6pPr>
            <a:lvl7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8pPr>
            <a:lvl9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851566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V03">
    <p:bg>
      <p:bgPr>
        <a:solidFill>
          <a:srgbClr val="7FC7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8000" y="306000"/>
            <a:ext cx="5488863" cy="1384995"/>
          </a:xfrm>
        </p:spPr>
        <p:txBody>
          <a:bodyPr wrap="square" anchor="t" anchorCtr="0">
            <a:spAutoFit/>
          </a:bodyPr>
          <a:lstStyle>
            <a:lvl1pPr algn="l">
              <a:lnSpc>
                <a:spcPts val="5400"/>
              </a:lnSpc>
              <a:defRPr sz="4800" b="0" cap="none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chapt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CBB259C-5757-1771-2BC3-A6633E6F3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7999" y="3486559"/>
            <a:ext cx="1800000" cy="1641475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22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5pPr>
            <a:lvl6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6pPr>
            <a:lvl7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8pPr>
            <a:lvl9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938647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Image V01">
    <p:bg>
      <p:bgPr>
        <a:solidFill>
          <a:srgbClr val="7FC7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5AF0533A-51F2-BB29-D669-E4AABD18D2E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72000"/>
            <a:ext cx="9144000" cy="5071500"/>
          </a:xfrm>
          <a:solidFill>
            <a:schemeClr val="bg1">
              <a:lumMod val="50000"/>
            </a:schemeClr>
          </a:solidFill>
        </p:spPr>
        <p:txBody>
          <a:bodyPr tIns="57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image by clicking on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8000" y="306000"/>
            <a:ext cx="5488863" cy="1384995"/>
          </a:xfrm>
        </p:spPr>
        <p:txBody>
          <a:bodyPr wrap="square" anchor="t" anchorCtr="0">
            <a:spAutoFit/>
          </a:bodyPr>
          <a:lstStyle>
            <a:lvl1pPr algn="l">
              <a:lnSpc>
                <a:spcPts val="5400"/>
              </a:lnSpc>
              <a:defRPr sz="48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chapt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CBB259C-5757-1771-2BC3-A6633E6F3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7999" y="3486559"/>
            <a:ext cx="1800000" cy="1641475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22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13840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61B843B-E575-4959-C629-74105537F29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72000"/>
            <a:ext cx="9144000" cy="5071500"/>
          </a:xfrm>
          <a:solidFill>
            <a:schemeClr val="bg1">
              <a:lumMod val="50000"/>
            </a:schemeClr>
          </a:solidFill>
        </p:spPr>
        <p:txBody>
          <a:bodyPr tIns="57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Add image by clicking on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78000" y="375506"/>
            <a:ext cx="6948000" cy="1025922"/>
          </a:xfrm>
        </p:spPr>
        <p:txBody>
          <a:bodyPr anchor="t" anchorCtr="0">
            <a:spAutoFit/>
          </a:bodyPr>
          <a:lstStyle>
            <a:lvl1pPr algn="l">
              <a:lnSpc>
                <a:spcPts val="4000"/>
              </a:lnSpc>
              <a:defRPr sz="4000" kern="1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presentation title (maximum three lines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78000" y="2134785"/>
            <a:ext cx="4068588" cy="205184"/>
          </a:xfrm>
        </p:spPr>
        <p:txBody>
          <a:bodyPr anchor="b">
            <a:spAutoFit/>
          </a:bodyPr>
          <a:lstStyle>
            <a:lvl1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kern="1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5pPr>
            <a:lvl6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6pPr>
            <a:lvl7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7pPr>
            <a:lvl8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8pPr>
            <a:lvl9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 dirty="0"/>
              <a:t>Click to edit subtit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378000" y="2426400"/>
            <a:ext cx="1188863" cy="129523"/>
          </a:xfrm>
        </p:spPr>
        <p:txBody>
          <a:bodyPr/>
          <a:lstStyle>
            <a:lvl1pPr marL="0" algn="l">
              <a:lnSpc>
                <a:spcPts val="1125"/>
              </a:lnSpc>
              <a:defRPr sz="800" b="1">
                <a:solidFill>
                  <a:schemeClr val="bg1"/>
                </a:solidFill>
              </a:defRPr>
            </a:lvl1pPr>
            <a:lvl2pPr marL="0" algn="l">
              <a:lnSpc>
                <a:spcPts val="1125"/>
              </a:lnSpc>
              <a:defRPr sz="800" b="1"/>
            </a:lvl2pPr>
            <a:lvl3pPr marL="0" algn="l">
              <a:lnSpc>
                <a:spcPts val="1125"/>
              </a:lnSpc>
              <a:defRPr sz="800" b="1"/>
            </a:lvl3pPr>
            <a:lvl4pPr marL="0" algn="l">
              <a:lnSpc>
                <a:spcPts val="1125"/>
              </a:lnSpc>
              <a:defRPr sz="800" b="1"/>
            </a:lvl4pPr>
            <a:lvl5pPr marL="0" algn="l">
              <a:lnSpc>
                <a:spcPts val="1125"/>
              </a:lnSpc>
              <a:defRPr sz="800" b="1"/>
            </a:lvl5pPr>
            <a:lvl6pPr marL="0" algn="l">
              <a:lnSpc>
                <a:spcPts val="1125"/>
              </a:lnSpc>
              <a:defRPr sz="800" b="1"/>
            </a:lvl6pPr>
            <a:lvl7pPr marL="0" algn="l">
              <a:lnSpc>
                <a:spcPts val="1125"/>
              </a:lnSpc>
              <a:defRPr sz="800" b="1"/>
            </a:lvl7pPr>
            <a:lvl8pPr marL="0" algn="l">
              <a:lnSpc>
                <a:spcPts val="1125"/>
              </a:lnSpc>
              <a:defRPr sz="800" b="1"/>
            </a:lvl8pPr>
            <a:lvl9pPr marL="0" algn="l">
              <a:lnSpc>
                <a:spcPts val="1125"/>
              </a:lnSpc>
              <a:defRPr sz="800" b="1"/>
            </a:lvl9pPr>
          </a:lstStyle>
          <a:p>
            <a:r>
              <a:rPr lang="de-DE" noProof="0"/>
              <a:t>27 September, 2022</a:t>
            </a:r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4CDDD4-E41C-2594-51E3-E26B0BC0807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79419" y="4377600"/>
            <a:ext cx="1313671" cy="392787"/>
          </a:xfrm>
          <a:custGeom>
            <a:avLst/>
            <a:gdLst>
              <a:gd name="connsiteX0" fmla="*/ 0 w 5715000"/>
              <a:gd name="connsiteY0" fmla="*/ 0 h 72000"/>
              <a:gd name="connsiteX1" fmla="*/ 5715000 w 5715000"/>
              <a:gd name="connsiteY1" fmla="*/ 0 h 72000"/>
              <a:gd name="connsiteX2" fmla="*/ 5715000 w 5715000"/>
              <a:gd name="connsiteY2" fmla="*/ 72000 h 72000"/>
              <a:gd name="connsiteX3" fmla="*/ 0 w 5715000"/>
              <a:gd name="connsiteY3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5000" h="72000">
                <a:moveTo>
                  <a:pt x="0" y="0"/>
                </a:moveTo>
                <a:lnTo>
                  <a:pt x="5715000" y="0"/>
                </a:lnTo>
                <a:lnTo>
                  <a:pt x="5715000" y="72000"/>
                </a:lnTo>
                <a:lnTo>
                  <a:pt x="0" y="72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9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53597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Imag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0">
            <a:extLst>
              <a:ext uri="{FF2B5EF4-FFF2-40B4-BE49-F238E27FC236}">
                <a16:creationId xmlns:a16="http://schemas.microsoft.com/office/drawing/2014/main" id="{5AF0533A-51F2-BB29-D669-E4AABD18D2E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99000" y="72000"/>
            <a:ext cx="4445000" cy="5071500"/>
          </a:xfrm>
          <a:solidFill>
            <a:schemeClr val="bg1">
              <a:lumMod val="50000"/>
            </a:schemeClr>
          </a:solidFill>
        </p:spPr>
        <p:txBody>
          <a:bodyPr tIns="57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image by clicking on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8001" y="306000"/>
            <a:ext cx="4068588" cy="1384995"/>
          </a:xfrm>
        </p:spPr>
        <p:txBody>
          <a:bodyPr wrap="square" anchor="t" anchorCtr="0">
            <a:spAutoFit/>
          </a:bodyPr>
          <a:lstStyle>
            <a:lvl1pPr algn="l">
              <a:lnSpc>
                <a:spcPts val="5400"/>
              </a:lnSpc>
              <a:defRPr sz="4800" b="0" cap="none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chapter nam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8CBB259C-5757-1771-2BC3-A6633E6F3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7999" y="3486559"/>
            <a:ext cx="1800000" cy="1641475"/>
          </a:xfrm>
        </p:spPr>
        <p:txBody>
          <a:bodyPr wrap="square" anchor="b">
            <a:noAutofit/>
          </a:bodyPr>
          <a:lstStyle>
            <a:lvl1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22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5pPr>
            <a:lvl6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6pPr>
            <a:lvl7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8pPr>
            <a:lvl9pPr marL="0" indent="0">
              <a:lnSpc>
                <a:spcPts val="12800"/>
              </a:lnSpc>
              <a:spcBef>
                <a:spcPts val="0"/>
              </a:spcBef>
              <a:spcAft>
                <a:spcPts val="0"/>
              </a:spcAft>
              <a:buNone/>
              <a:defRPr sz="122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821531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000" y="4377600"/>
            <a:ext cx="1312377" cy="3924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78000" y="375506"/>
            <a:ext cx="6948000" cy="1025922"/>
          </a:xfrm>
        </p:spPr>
        <p:txBody>
          <a:bodyPr>
            <a:spAutoFit/>
          </a:bodyPr>
          <a:lstStyle>
            <a:lvl1pPr algn="l">
              <a:lnSpc>
                <a:spcPts val="4000"/>
              </a:lnSpc>
              <a:spcAft>
                <a:spcPts val="0"/>
              </a:spcAft>
              <a:defRPr sz="4000">
                <a:solidFill>
                  <a:srgbClr val="EA1C0A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5pPr>
          </a:lstStyle>
          <a:p>
            <a:pPr lvl="0"/>
            <a:r>
              <a:rPr lang="en-GB" noProof="0"/>
              <a:t>Click to edit closing statement/ conclu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8000" y="1947342"/>
            <a:ext cx="4068588" cy="192360"/>
          </a:xfrm>
        </p:spPr>
        <p:txBody>
          <a:bodyPr wrap="square" anchor="b">
            <a:spAutoFit/>
          </a:bodyPr>
          <a:lstStyle>
            <a:lvl1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2pPr>
            <a:lvl3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3pPr>
            <a:lvl4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4pPr>
            <a:lvl5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5pPr>
            <a:lvl6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6pPr>
            <a:lvl7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7pPr>
            <a:lvl8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8pPr>
            <a:lvl9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Click to edit Name Sur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435ECDFF-7CF6-88A7-3B86-3DF7C124D6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2355726"/>
            <a:ext cx="4068588" cy="21544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tx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Click to edit 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750502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Imag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955CDBE4-8E1E-DDB1-3A2E-D667E4574F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72000"/>
            <a:ext cx="9144000" cy="5071500"/>
          </a:xfrm>
          <a:solidFill>
            <a:schemeClr val="bg1">
              <a:lumMod val="50000"/>
            </a:schemeClr>
          </a:solidFill>
        </p:spPr>
        <p:txBody>
          <a:bodyPr tIns="57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image by clicking on ico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78000" y="375506"/>
            <a:ext cx="6948000" cy="1025922"/>
          </a:xfrm>
        </p:spPr>
        <p:txBody>
          <a:bodyPr>
            <a:spAutoFit/>
          </a:bodyPr>
          <a:lstStyle>
            <a:lvl1pPr algn="l">
              <a:lnSpc>
                <a:spcPts val="4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5pPr>
          </a:lstStyle>
          <a:p>
            <a:pPr lvl="0"/>
            <a:r>
              <a:rPr lang="en-GB" noProof="0"/>
              <a:t>Click to edit closing statement/ conclus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8000" y="1947342"/>
            <a:ext cx="4068000" cy="192360"/>
          </a:xfrm>
        </p:spPr>
        <p:txBody>
          <a:bodyPr wrap="square" anchor="b">
            <a:spAutoFit/>
          </a:bodyPr>
          <a:lstStyle>
            <a:lvl1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5pPr>
            <a:lvl6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6pPr>
            <a:lvl7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7pPr>
            <a:lvl8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8pPr>
            <a:lvl9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Click to edit Name Sur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435ECDFF-7CF6-88A7-3B86-3DF7C124D6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2355726"/>
            <a:ext cx="4068000" cy="21544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Click to edit contact inform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DCBCDE-2D70-DF92-5328-B681C9E23C7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79419" y="4377600"/>
            <a:ext cx="1313671" cy="392787"/>
          </a:xfrm>
          <a:custGeom>
            <a:avLst/>
            <a:gdLst>
              <a:gd name="connsiteX0" fmla="*/ 0 w 5715000"/>
              <a:gd name="connsiteY0" fmla="*/ 0 h 72000"/>
              <a:gd name="connsiteX1" fmla="*/ 5715000 w 5715000"/>
              <a:gd name="connsiteY1" fmla="*/ 0 h 72000"/>
              <a:gd name="connsiteX2" fmla="*/ 5715000 w 5715000"/>
              <a:gd name="connsiteY2" fmla="*/ 72000 h 72000"/>
              <a:gd name="connsiteX3" fmla="*/ 0 w 5715000"/>
              <a:gd name="connsiteY3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5000" h="72000">
                <a:moveTo>
                  <a:pt x="0" y="0"/>
                </a:moveTo>
                <a:lnTo>
                  <a:pt x="5715000" y="0"/>
                </a:lnTo>
                <a:lnTo>
                  <a:pt x="5715000" y="72000"/>
                </a:lnTo>
                <a:lnTo>
                  <a:pt x="0" y="72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9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53553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Imag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955CDBE4-8E1E-DDB1-3A2E-D667E4574F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29000" y="72000"/>
            <a:ext cx="5715000" cy="5071500"/>
          </a:xfrm>
          <a:solidFill>
            <a:schemeClr val="bg1">
              <a:lumMod val="50000"/>
            </a:schemeClr>
          </a:solidFill>
        </p:spPr>
        <p:txBody>
          <a:bodyPr tIns="57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image by clicking on icon</a:t>
            </a:r>
          </a:p>
        </p:txBody>
      </p: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000" y="4377600"/>
            <a:ext cx="1312377" cy="3924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78000" y="375506"/>
            <a:ext cx="2628000" cy="1384995"/>
          </a:xfrm>
        </p:spPr>
        <p:txBody>
          <a:bodyPr>
            <a:spAutoFit/>
          </a:bodyPr>
          <a:lstStyle>
            <a:lvl1pPr algn="l">
              <a:lnSpc>
                <a:spcPts val="3600"/>
              </a:lnSpc>
              <a:spcAft>
                <a:spcPts val="0"/>
              </a:spcAft>
              <a:defRPr sz="3600">
                <a:solidFill>
                  <a:srgbClr val="EA1C0A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5pPr>
          </a:lstStyle>
          <a:p>
            <a:pPr lvl="0"/>
            <a:r>
              <a:rPr lang="en-GB" noProof="0"/>
              <a:t>Conclusion/ closing statemen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8000" y="1947342"/>
            <a:ext cx="2628000" cy="192360"/>
          </a:xfrm>
        </p:spPr>
        <p:txBody>
          <a:bodyPr wrap="square" anchor="b">
            <a:spAutoFit/>
          </a:bodyPr>
          <a:lstStyle>
            <a:lvl1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2pPr>
            <a:lvl3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3pPr>
            <a:lvl4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4pPr>
            <a:lvl5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5pPr>
            <a:lvl6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6pPr>
            <a:lvl7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7pPr>
            <a:lvl8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8pPr>
            <a:lvl9pPr marL="0" indent="0" algn="l">
              <a:lnSpc>
                <a:spcPts val="146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Click to edit Name Surnam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435ECDFF-7CF6-88A7-3B86-3DF7C124D6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8000" y="2355726"/>
            <a:ext cx="2628000" cy="21544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Click to edit 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2033860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Image V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955CDBE4-8E1E-DDB1-3A2E-D667E4574F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72000"/>
            <a:ext cx="9144000" cy="5071500"/>
          </a:xfrm>
          <a:solidFill>
            <a:schemeClr val="bg1">
              <a:lumMod val="50000"/>
            </a:schemeClr>
          </a:solidFill>
        </p:spPr>
        <p:txBody>
          <a:bodyPr tIns="72000"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o insert a background image: Please select an image by clicking on the “Insert” tab and choosing the “Pictures” command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98000" y="1369677"/>
            <a:ext cx="6948000" cy="2462213"/>
          </a:xfrm>
        </p:spPr>
        <p:txBody>
          <a:bodyPr anchor="ctr">
            <a:spAutoFit/>
          </a:bodyPr>
          <a:lstStyle>
            <a:lvl1pPr algn="ctr">
              <a:lnSpc>
                <a:spcPts val="9600"/>
              </a:lnSpc>
              <a:spcAft>
                <a:spcPts val="0"/>
              </a:spcAft>
              <a:defRPr sz="9600">
                <a:solidFill>
                  <a:schemeClr val="bg1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5pPr>
          </a:lstStyle>
          <a:p>
            <a:pPr lvl="0"/>
            <a:r>
              <a:rPr lang="en-GB" noProof="0"/>
              <a:t>Closing statemen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DCBCDE-2D70-DF92-5328-B681C9E23C7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3915165" y="4377600"/>
            <a:ext cx="1313671" cy="392787"/>
          </a:xfrm>
          <a:custGeom>
            <a:avLst/>
            <a:gdLst>
              <a:gd name="connsiteX0" fmla="*/ 0 w 5715000"/>
              <a:gd name="connsiteY0" fmla="*/ 0 h 72000"/>
              <a:gd name="connsiteX1" fmla="*/ 5715000 w 5715000"/>
              <a:gd name="connsiteY1" fmla="*/ 0 h 72000"/>
              <a:gd name="connsiteX2" fmla="*/ 5715000 w 5715000"/>
              <a:gd name="connsiteY2" fmla="*/ 72000 h 72000"/>
              <a:gd name="connsiteX3" fmla="*/ 0 w 5715000"/>
              <a:gd name="connsiteY3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5000" h="72000">
                <a:moveTo>
                  <a:pt x="0" y="0"/>
                </a:moveTo>
                <a:lnTo>
                  <a:pt x="5715000" y="0"/>
                </a:lnTo>
                <a:lnTo>
                  <a:pt x="5715000" y="72000"/>
                </a:lnTo>
                <a:lnTo>
                  <a:pt x="0" y="72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9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69221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V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61B843B-E575-4959-C629-74105537F29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29000" y="72000"/>
            <a:ext cx="5715000" cy="5071500"/>
          </a:xfrm>
          <a:solidFill>
            <a:schemeClr val="bg1">
              <a:lumMod val="50000"/>
            </a:schemeClr>
          </a:solidFill>
        </p:spPr>
        <p:txBody>
          <a:bodyPr tIns="57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Add image by clicking on ico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78000" y="375506"/>
            <a:ext cx="2628000" cy="1384995"/>
          </a:xfrm>
        </p:spPr>
        <p:txBody>
          <a:bodyPr anchor="t" anchorCtr="0">
            <a:spAutoFit/>
          </a:bodyPr>
          <a:lstStyle>
            <a:lvl1pPr algn="l">
              <a:lnSpc>
                <a:spcPts val="3600"/>
              </a:lnSpc>
              <a:defRPr sz="3600" kern="1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presentation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78000" y="2134785"/>
            <a:ext cx="2627138" cy="205184"/>
          </a:xfrm>
        </p:spPr>
        <p:txBody>
          <a:bodyPr wrap="square" anchor="b">
            <a:spAutoFit/>
          </a:bodyPr>
          <a:lstStyle>
            <a:lvl1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 kern="1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2pPr>
            <a:lvl3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3pPr>
            <a:lvl4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4pPr>
            <a:lvl5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5pPr>
            <a:lvl6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6pPr>
            <a:lvl7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7pPr>
            <a:lvl8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8pPr>
            <a:lvl9pPr marL="0" indent="0" algn="l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40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en-GB" noProof="0"/>
              <a:t>Click to edit subtit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378000" y="2426400"/>
            <a:ext cx="1188863" cy="129523"/>
          </a:xfrm>
        </p:spPr>
        <p:txBody>
          <a:bodyPr/>
          <a:lstStyle>
            <a:lvl1pPr marL="0" algn="l">
              <a:lnSpc>
                <a:spcPts val="1125"/>
              </a:lnSpc>
              <a:defRPr sz="800" b="1">
                <a:solidFill>
                  <a:schemeClr val="bg1"/>
                </a:solidFill>
              </a:defRPr>
            </a:lvl1pPr>
            <a:lvl2pPr marL="0" algn="l">
              <a:lnSpc>
                <a:spcPts val="1125"/>
              </a:lnSpc>
              <a:defRPr sz="800" b="1"/>
            </a:lvl2pPr>
            <a:lvl3pPr marL="0" algn="l">
              <a:lnSpc>
                <a:spcPts val="1125"/>
              </a:lnSpc>
              <a:defRPr sz="800" b="1"/>
            </a:lvl3pPr>
            <a:lvl4pPr marL="0" algn="l">
              <a:lnSpc>
                <a:spcPts val="1125"/>
              </a:lnSpc>
              <a:defRPr sz="800" b="1"/>
            </a:lvl4pPr>
            <a:lvl5pPr marL="0" algn="l">
              <a:lnSpc>
                <a:spcPts val="1125"/>
              </a:lnSpc>
              <a:defRPr sz="800" b="1"/>
            </a:lvl5pPr>
            <a:lvl6pPr marL="0" algn="l">
              <a:lnSpc>
                <a:spcPts val="1125"/>
              </a:lnSpc>
              <a:defRPr sz="800" b="1"/>
            </a:lvl6pPr>
            <a:lvl7pPr marL="0" algn="l">
              <a:lnSpc>
                <a:spcPts val="1125"/>
              </a:lnSpc>
              <a:defRPr sz="800" b="1"/>
            </a:lvl7pPr>
            <a:lvl8pPr marL="0" algn="l">
              <a:lnSpc>
                <a:spcPts val="1125"/>
              </a:lnSpc>
              <a:defRPr sz="800" b="1"/>
            </a:lvl8pPr>
            <a:lvl9pPr marL="0" algn="l">
              <a:lnSpc>
                <a:spcPts val="1125"/>
              </a:lnSpc>
              <a:defRPr sz="800" b="1"/>
            </a:lvl9pPr>
          </a:lstStyle>
          <a:p>
            <a:r>
              <a:rPr lang="de-DE" noProof="0"/>
              <a:t>27 September, 2022</a:t>
            </a:r>
            <a:endParaRPr lang="en-GB" noProof="0">
              <a:solidFill>
                <a:schemeClr val="bg1"/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EA9D219-8CB4-2BD5-C5A4-2AB1601E05B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79419" y="4377600"/>
            <a:ext cx="1313671" cy="392787"/>
          </a:xfrm>
          <a:custGeom>
            <a:avLst/>
            <a:gdLst>
              <a:gd name="connsiteX0" fmla="*/ 0 w 5715000"/>
              <a:gd name="connsiteY0" fmla="*/ 0 h 72000"/>
              <a:gd name="connsiteX1" fmla="*/ 5715000 w 5715000"/>
              <a:gd name="connsiteY1" fmla="*/ 0 h 72000"/>
              <a:gd name="connsiteX2" fmla="*/ 5715000 w 5715000"/>
              <a:gd name="connsiteY2" fmla="*/ 72000 h 72000"/>
              <a:gd name="connsiteX3" fmla="*/ 0 w 5715000"/>
              <a:gd name="connsiteY3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5000" h="72000">
                <a:moveTo>
                  <a:pt x="0" y="0"/>
                </a:moveTo>
                <a:lnTo>
                  <a:pt x="5715000" y="0"/>
                </a:lnTo>
                <a:lnTo>
                  <a:pt x="5715000" y="72000"/>
                </a:lnTo>
                <a:lnTo>
                  <a:pt x="0" y="72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EON Brix Sans" panose="020B0500000000000000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492414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slide title (maximum two lines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6238" y="1371600"/>
            <a:ext cx="8388000" cy="3049200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64500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62A1652-4EB9-AD0A-F9A5-06630648C3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844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/>
              <a:t>Click to edit slide title (maximum two lines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76238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99001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81153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8AC51BC-C160-D926-1EB5-146FA484D6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41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GB" noProof="0"/>
              <a:t>Click to edit slide title (maximum two lines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76238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750"/>
              </a:lnSpc>
              <a:defRPr sz="1400"/>
            </a:lvl1pPr>
            <a:lvl2pPr>
              <a:lnSpc>
                <a:spcPts val="1750"/>
              </a:lnSpc>
              <a:defRPr sz="1400"/>
            </a:lvl2pPr>
            <a:lvl3pPr>
              <a:lnSpc>
                <a:spcPts val="1750"/>
              </a:lnSpc>
              <a:defRPr sz="1400"/>
            </a:lvl3pPr>
            <a:lvl4pPr>
              <a:lnSpc>
                <a:spcPts val="1750"/>
              </a:lnSpc>
              <a:defRPr sz="1400"/>
            </a:lvl4pPr>
            <a:lvl5pPr>
              <a:lnSpc>
                <a:spcPts val="1750"/>
              </a:lnSpc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5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750"/>
              </a:lnSpc>
              <a:defRPr sz="1400"/>
            </a:lvl1pPr>
            <a:lvl2pPr>
              <a:lnSpc>
                <a:spcPts val="1750"/>
              </a:lnSpc>
              <a:defRPr sz="1400"/>
            </a:lvl2pPr>
            <a:lvl3pPr>
              <a:lnSpc>
                <a:spcPts val="1750"/>
              </a:lnSpc>
              <a:defRPr sz="1400"/>
            </a:lvl3pPr>
            <a:lvl4pPr>
              <a:lnSpc>
                <a:spcPts val="1750"/>
              </a:lnSpc>
              <a:defRPr sz="1400"/>
            </a:lvl4pPr>
            <a:lvl5pPr>
              <a:lnSpc>
                <a:spcPts val="1750"/>
              </a:lnSpc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13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750"/>
              </a:lnSpc>
              <a:defRPr sz="1400"/>
            </a:lvl1pPr>
            <a:lvl2pPr>
              <a:lnSpc>
                <a:spcPts val="1750"/>
              </a:lnSpc>
              <a:defRPr sz="1400"/>
            </a:lvl2pPr>
            <a:lvl3pPr>
              <a:lnSpc>
                <a:spcPts val="1750"/>
              </a:lnSpc>
              <a:defRPr sz="1400"/>
            </a:lvl3pPr>
            <a:lvl4pPr>
              <a:lnSpc>
                <a:spcPts val="1750"/>
              </a:lnSpc>
              <a:defRPr sz="1400"/>
            </a:lvl4pPr>
            <a:lvl5pPr>
              <a:lnSpc>
                <a:spcPts val="1750"/>
              </a:lnSpc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0705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6239" y="378000"/>
            <a:ext cx="4068000" cy="642612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slide title (maximum two lines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76238" y="1371600"/>
            <a:ext cx="4068763" cy="3394800"/>
          </a:xfrm>
        </p:spPr>
        <p:txBody>
          <a:bodyPr/>
          <a:lstStyle/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699000" y="71999"/>
            <a:ext cx="4445000" cy="5071497"/>
          </a:xfrm>
        </p:spPr>
        <p:txBody>
          <a:bodyPr tIns="576000" anchor="ctr"/>
          <a:lstStyle>
            <a:lvl1pPr algn="ctr">
              <a:defRPr/>
            </a:lvl1pPr>
          </a:lstStyle>
          <a:p>
            <a:r>
              <a:rPr lang="en-GB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8469818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76239" y="378000"/>
            <a:ext cx="2628899" cy="642612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slide title (max. two lines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76238" y="1371600"/>
            <a:ext cx="2628901" cy="3394800"/>
          </a:xfrm>
        </p:spPr>
        <p:txBody>
          <a:bodyPr/>
          <a:lstStyle>
            <a:lvl1pPr>
              <a:lnSpc>
                <a:spcPts val="1750"/>
              </a:lnSpc>
              <a:defRPr sz="1400"/>
            </a:lvl1pPr>
            <a:lvl2pPr>
              <a:lnSpc>
                <a:spcPts val="1750"/>
              </a:lnSpc>
              <a:defRPr sz="1400"/>
            </a:lvl2pPr>
            <a:lvl3pPr>
              <a:lnSpc>
                <a:spcPts val="1750"/>
              </a:lnSpc>
              <a:defRPr sz="1400"/>
            </a:lvl3pPr>
            <a:lvl4pPr>
              <a:lnSpc>
                <a:spcPts val="1750"/>
              </a:lnSpc>
              <a:defRPr sz="1400"/>
            </a:lvl4pPr>
            <a:lvl5pPr>
              <a:lnSpc>
                <a:spcPts val="1750"/>
              </a:lnSpc>
              <a:defRPr sz="1400"/>
            </a:lvl5pPr>
          </a:lstStyle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3429000" y="72000"/>
            <a:ext cx="5715000" cy="5071500"/>
          </a:xfrm>
        </p:spPr>
        <p:txBody>
          <a:bodyPr tIns="576000" anchor="ctr"/>
          <a:lstStyle>
            <a:lvl1pPr algn="ctr">
              <a:defRPr/>
            </a:lvl1pPr>
          </a:lstStyle>
          <a:p>
            <a:r>
              <a:rPr lang="en-GB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593840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slide title (maximum two lines)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371600"/>
            <a:ext cx="9144000" cy="3772800"/>
          </a:xfrm>
        </p:spPr>
        <p:txBody>
          <a:bodyPr tIns="576000" anchor="ctr"/>
          <a:lstStyle>
            <a:lvl1pPr algn="ctr">
              <a:defRPr/>
            </a:lvl1pPr>
          </a:lstStyle>
          <a:p>
            <a:r>
              <a:rPr lang="en-GB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2061655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A5ACA9-9D57-4185-D997-BD210D4A9B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01400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8" imgW="306" imgH="306" progId="TCLayout.ActiveDocument.1">
                  <p:embed/>
                </p:oleObj>
              </mc:Choice>
              <mc:Fallback>
                <p:oleObj name="think-cell Slide" r:id="rId28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: Shape 6">
            <a:extLst>
              <a:ext uri="{FF2B5EF4-FFF2-40B4-BE49-F238E27FC236}">
                <a16:creationId xmlns:a16="http://schemas.microsoft.com/office/drawing/2014/main" id="{AA737D0B-EFBD-190C-1EC7-3CA8A6972D7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0"/>
            <a:ext cx="2286000" cy="72000"/>
          </a:xfrm>
          <a:custGeom>
            <a:avLst/>
            <a:gdLst>
              <a:gd name="connsiteX0" fmla="*/ 0 w 2286000"/>
              <a:gd name="connsiteY0" fmla="*/ 0 h 72000"/>
              <a:gd name="connsiteX1" fmla="*/ 2286000 w 2286000"/>
              <a:gd name="connsiteY1" fmla="*/ 0 h 72000"/>
              <a:gd name="connsiteX2" fmla="*/ 2286000 w 2286000"/>
              <a:gd name="connsiteY2" fmla="*/ 72000 h 72000"/>
              <a:gd name="connsiteX3" fmla="*/ 0 w 2286000"/>
              <a:gd name="connsiteY3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0" h="72000">
                <a:moveTo>
                  <a:pt x="0" y="0"/>
                </a:moveTo>
                <a:lnTo>
                  <a:pt x="2286000" y="0"/>
                </a:lnTo>
                <a:lnTo>
                  <a:pt x="2286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EON Brix Sans" panose="020B0500000000000000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1D44AA2-C054-D019-F26E-C05BF7B09BE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286000" y="0"/>
            <a:ext cx="1143000" cy="72000"/>
          </a:xfrm>
          <a:custGeom>
            <a:avLst/>
            <a:gdLst>
              <a:gd name="connsiteX0" fmla="*/ 0 w 1143000"/>
              <a:gd name="connsiteY0" fmla="*/ 0 h 72000"/>
              <a:gd name="connsiteX1" fmla="*/ 1143000 w 1143000"/>
              <a:gd name="connsiteY1" fmla="*/ 0 h 72000"/>
              <a:gd name="connsiteX2" fmla="*/ 1143000 w 1143000"/>
              <a:gd name="connsiteY2" fmla="*/ 72000 h 72000"/>
              <a:gd name="connsiteX3" fmla="*/ 0 w 1143000"/>
              <a:gd name="connsiteY3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3000" h="72000">
                <a:moveTo>
                  <a:pt x="0" y="0"/>
                </a:moveTo>
                <a:lnTo>
                  <a:pt x="1143000" y="0"/>
                </a:lnTo>
                <a:lnTo>
                  <a:pt x="1143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EON Brix Sans" panose="020B0500000000000000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/>
              <a:t>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6BD5AA6-DBEF-BB56-1236-26914F4241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429000" y="0"/>
            <a:ext cx="5715000" cy="72000"/>
          </a:xfrm>
          <a:custGeom>
            <a:avLst/>
            <a:gdLst>
              <a:gd name="connsiteX0" fmla="*/ 0 w 5715000"/>
              <a:gd name="connsiteY0" fmla="*/ 0 h 72000"/>
              <a:gd name="connsiteX1" fmla="*/ 5715000 w 5715000"/>
              <a:gd name="connsiteY1" fmla="*/ 0 h 72000"/>
              <a:gd name="connsiteX2" fmla="*/ 5715000 w 5715000"/>
              <a:gd name="connsiteY2" fmla="*/ 72000 h 72000"/>
              <a:gd name="connsiteX3" fmla="*/ 0 w 5715000"/>
              <a:gd name="connsiteY3" fmla="*/ 72000 h 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15000" h="72000">
                <a:moveTo>
                  <a:pt x="0" y="0"/>
                </a:moveTo>
                <a:lnTo>
                  <a:pt x="5715000" y="0"/>
                </a:lnTo>
                <a:lnTo>
                  <a:pt x="5715000" y="72000"/>
                </a:lnTo>
                <a:lnTo>
                  <a:pt x="0" y="720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A1C0A"/>
              </a:buClr>
              <a:buFont typeface="EON Brix Sans" panose="020B0500000000000000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00" kern="100" baseline="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EON Brix Sans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/>
              <a:t> 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76237" y="378000"/>
            <a:ext cx="8388000" cy="3216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 dirty="0"/>
              <a:t>Click to edit slide title (maximum two lines)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6238" y="1371600"/>
            <a:ext cx="8388000" cy="3049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577137" y="4885200"/>
            <a:ext cx="882000" cy="1295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lnSpc>
                <a:spcPts val="1125"/>
              </a:lnSpc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noProof="0" dirty="0"/>
              <a:t>27 September,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76238" y="4885200"/>
            <a:ext cx="5292000" cy="1295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lnSpc>
                <a:spcPts val="1125"/>
              </a:lnSpc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noProof="0" dirty="0"/>
              <a:t>E.ON advanced chart librar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14175" y="4885200"/>
            <a:ext cx="252000" cy="12952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lnSpc>
                <a:spcPts val="1125"/>
              </a:lnSpc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93C795C4-4A26-412B-AA90-98E97FF83D41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76946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89" r:id="rId3"/>
    <p:sldLayoutId id="2147483650" r:id="rId4"/>
    <p:sldLayoutId id="2147483652" r:id="rId5"/>
    <p:sldLayoutId id="2147483658" r:id="rId6"/>
    <p:sldLayoutId id="2147483662" r:id="rId7"/>
    <p:sldLayoutId id="2147483660" r:id="rId8"/>
    <p:sldLayoutId id="2147483664" r:id="rId9"/>
    <p:sldLayoutId id="2147483654" r:id="rId10"/>
    <p:sldLayoutId id="2147483655" r:id="rId11"/>
    <p:sldLayoutId id="2147483690" r:id="rId12"/>
    <p:sldLayoutId id="2147483665" r:id="rId13"/>
    <p:sldLayoutId id="2147483668" r:id="rId14"/>
    <p:sldLayoutId id="2147483675" r:id="rId15"/>
    <p:sldLayoutId id="2147483651" r:id="rId16"/>
    <p:sldLayoutId id="2147483691" r:id="rId17"/>
    <p:sldLayoutId id="2147483692" r:id="rId18"/>
    <p:sldLayoutId id="2147483693" r:id="rId19"/>
    <p:sldLayoutId id="2147483694" r:id="rId20"/>
    <p:sldLayoutId id="2147483672" r:id="rId21"/>
    <p:sldLayoutId id="2147483695" r:id="rId22"/>
    <p:sldLayoutId id="2147483696" r:id="rId23"/>
    <p:sldLayoutId id="2147483697" r:id="rId24"/>
  </p:sldLayoutIdLst>
  <p:hf hdr="0" dt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2400" kern="1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EON Brix Sans" panose="020B0604020202020204" pitchFamily="34" charset="0"/>
        <a:buNone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ClrTx/>
        <a:buFont typeface="EON Brix Sans" panose="020B0500000000000000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EON Brix Sans" panose="020B0604020202020204" pitchFamily="34" charset="0"/>
        <a:buChar char="–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EON Brix Sans" panose="020B0604020202020204" pitchFamily="34" charset="0"/>
        <a:buChar char="–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EON Brix Sans" panose="020B0500000000000000" pitchFamily="34" charset="0"/>
        <a:buChar char="–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EON Brix Sans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EON Brix Sans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EON Brix Sans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EON Brix Sans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3" userDrawn="1">
          <p15:clr>
            <a:srgbClr val="F26B43"/>
          </p15:clr>
        </p15:guide>
        <p15:guide id="2" pos="237" userDrawn="1">
          <p15:clr>
            <a:srgbClr val="F26B43"/>
          </p15:clr>
        </p15:guide>
        <p15:guide id="3" pos="5522" userDrawn="1">
          <p15:clr>
            <a:srgbClr val="F26B43"/>
          </p15:clr>
        </p15:guide>
        <p15:guide id="4" pos="987" userDrawn="1">
          <p15:clr>
            <a:srgbClr val="F26B43"/>
          </p15:clr>
        </p15:guide>
        <p15:guide id="5" pos="2052" userDrawn="1">
          <p15:clr>
            <a:srgbClr val="F26B43"/>
          </p15:clr>
        </p15:guide>
        <p15:guide id="6" pos="3707" userDrawn="1">
          <p15:clr>
            <a:srgbClr val="F26B43"/>
          </p15:clr>
        </p15:guide>
        <p15:guide id="7" pos="3866" userDrawn="1">
          <p15:clr>
            <a:srgbClr val="F26B43"/>
          </p15:clr>
        </p15:guide>
        <p15:guide id="8" orient="horz" pos="2786" userDrawn="1">
          <p15:clr>
            <a:srgbClr val="F26B43"/>
          </p15:clr>
        </p15:guide>
        <p15:guide id="9" pos="2801" userDrawn="1">
          <p15:clr>
            <a:srgbClr val="F26B43"/>
          </p15:clr>
        </p15:guide>
        <p15:guide id="10" pos="2960" userDrawn="1">
          <p15:clr>
            <a:srgbClr val="F26B43"/>
          </p15:clr>
        </p15:guide>
        <p15:guide id="11" pos="1145" userDrawn="1">
          <p15:clr>
            <a:srgbClr val="F26B43"/>
          </p15:clr>
        </p15:guide>
        <p15:guide id="12" pos="1893" userDrawn="1">
          <p15:clr>
            <a:srgbClr val="F26B43"/>
          </p15:clr>
        </p15:guide>
        <p15:guide id="13" pos="4616" userDrawn="1">
          <p15:clr>
            <a:srgbClr val="F26B43"/>
          </p15:clr>
        </p15:guide>
        <p15:guide id="14" pos="4773" userDrawn="1">
          <p15:clr>
            <a:srgbClr val="F26B43"/>
          </p15:clr>
        </p15:guide>
        <p15:guide id="15" orient="horz" pos="237" userDrawn="1">
          <p15:clr>
            <a:srgbClr val="F26B43"/>
          </p15:clr>
        </p15:guide>
        <p15:guide id="16" orient="horz" pos="300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7.svg"/><Relationship Id="rId12" Type="http://schemas.openxmlformats.org/officeDocument/2006/relationships/image" Target="../media/image1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hallengeon.hu/" TargetMode="External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5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003B0B-30A1-516D-3963-52E8FC3C60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9790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A picture containing sky, umbrella, outdoor, scene&#10;&#10;Description automatically generated">
            <a:extLst>
              <a:ext uri="{FF2B5EF4-FFF2-40B4-BE49-F238E27FC236}">
                <a16:creationId xmlns:a16="http://schemas.microsoft.com/office/drawing/2014/main" id="{0DEE07C8-A64E-80C9-5EAC-A8E86879355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32" r="18732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ED24746-B051-EFD1-6805-F1C59AEED5A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/>
              <a:t>Challenge.ON</a:t>
            </a:r>
            <a:endParaRPr lang="en-GB" dirty="0"/>
          </a:p>
        </p:txBody>
      </p:sp>
      <p:sp>
        <p:nvSpPr>
          <p:cNvPr id="20" name="Subtitle 19">
            <a:extLst>
              <a:ext uri="{FF2B5EF4-FFF2-40B4-BE49-F238E27FC236}">
                <a16:creationId xmlns:a16="http://schemas.microsoft.com/office/drawing/2014/main" id="{62E78436-6FEB-88B1-FAB6-2611601033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8000" y="1724416"/>
            <a:ext cx="2627138" cy="615553"/>
          </a:xfrm>
        </p:spPr>
        <p:txBody>
          <a:bodyPr/>
          <a:lstStyle/>
          <a:p>
            <a:r>
              <a:rPr lang="hu-HU" dirty="0"/>
              <a:t>Az AI és </a:t>
            </a:r>
            <a:r>
              <a:rPr lang="hu-HU" dirty="0" err="1"/>
              <a:t>IoT</a:t>
            </a:r>
            <a:r>
              <a:rPr lang="hu-HU" dirty="0"/>
              <a:t> technológia találkozása</a:t>
            </a:r>
            <a:br>
              <a:rPr lang="hu-HU" dirty="0"/>
            </a:br>
            <a:r>
              <a:rPr lang="hu-HU" dirty="0"/>
              <a:t> a villamosenergia elosztórendszerekk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10949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ím 6">
            <a:extLst>
              <a:ext uri="{FF2B5EF4-FFF2-40B4-BE49-F238E27FC236}">
                <a16:creationId xmlns:a16="http://schemas.microsoft.com/office/drawing/2014/main" id="{5EBD39CD-87B3-4345-9221-19E018B04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239" y="378000"/>
            <a:ext cx="4068000" cy="1285224"/>
          </a:xfrm>
        </p:spPr>
        <p:txBody>
          <a:bodyPr/>
          <a:lstStyle/>
          <a:p>
            <a:r>
              <a:rPr lang="hu-HU" dirty="0"/>
              <a:t>Hogyan segíthet az AI és az </a:t>
            </a:r>
            <a:r>
              <a:rPr lang="hu-HU" dirty="0" err="1"/>
              <a:t>IoT</a:t>
            </a:r>
            <a:r>
              <a:rPr lang="hu-HU" dirty="0"/>
              <a:t> technológia a villamosenergia elosztóhálózatok rugalmasságának növelésében? </a:t>
            </a:r>
          </a:p>
        </p:txBody>
      </p:sp>
      <p:sp>
        <p:nvSpPr>
          <p:cNvPr id="8" name="Tartalom helye 7">
            <a:extLst>
              <a:ext uri="{FF2B5EF4-FFF2-40B4-BE49-F238E27FC236}">
                <a16:creationId xmlns:a16="http://schemas.microsoft.com/office/drawing/2014/main" id="{6DFB4196-3D3A-4758-9B12-42E495DD6F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6238" y="2072640"/>
            <a:ext cx="4068763" cy="2693759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hu-HU" dirty="0"/>
              <a:t>Tarts velünk az idei Challenge.ON versenyén és gondolkodjunk együtt a jövő energiájáról! </a:t>
            </a:r>
          </a:p>
          <a:p>
            <a:r>
              <a:rPr lang="hu-HU" b="1" dirty="0"/>
              <a:t>Miért érdemes jelentkezni? 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hu-HU" dirty="0"/>
              <a:t>Tedd próbára szakmai tudásod! 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hu-HU" dirty="0"/>
              <a:t>Szerezz gyakorlatias tapasztalatot tanulmányaid mellett!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hu-HU" dirty="0"/>
              <a:t>Építsd karriered, találkozz szakmabeliekkel, mentorokkal!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hu-HU" dirty="0"/>
              <a:t>Értékes nyeremények üthetik a markodat, ha jól szerepelsz a versenyen. </a:t>
            </a:r>
          </a:p>
        </p:txBody>
      </p:sp>
      <p:pic>
        <p:nvPicPr>
          <p:cNvPr id="11" name="Kép helye 10">
            <a:extLst>
              <a:ext uri="{FF2B5EF4-FFF2-40B4-BE49-F238E27FC236}">
                <a16:creationId xmlns:a16="http://schemas.microsoft.com/office/drawing/2014/main" id="{7926B47F-7896-4001-919B-12363023AAF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2" r="618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86973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D0D28B1-A177-F3CE-7CF3-24F0CF0C61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9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D0D28B1-A177-F3CE-7CF3-24F0CF0C6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2048CDE1-344F-0AB7-C843-8D2F7608483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6238" y="378000"/>
            <a:ext cx="5508625" cy="429733"/>
          </a:xfrm>
        </p:spPr>
        <p:txBody>
          <a:bodyPr vert="horz"/>
          <a:lstStyle/>
          <a:p>
            <a:r>
              <a:rPr lang="hu-HU" sz="3200" b="1" dirty="0"/>
              <a:t>A verseny felépítése</a:t>
            </a:r>
            <a:endParaRPr lang="en-GB" sz="32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87BCDC-A3AD-6B7D-2866-C4C46B41F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93C795C4-4A26-412B-AA90-98E97FF83D4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4" name="Richtungspfeil 29">
            <a:extLst>
              <a:ext uri="{FF2B5EF4-FFF2-40B4-BE49-F238E27FC236}">
                <a16:creationId xmlns:a16="http://schemas.microsoft.com/office/drawing/2014/main" id="{4EC82ECD-6508-CEEF-35BC-E85F259871FE}"/>
              </a:ext>
            </a:extLst>
          </p:cNvPr>
          <p:cNvSpPr/>
          <p:nvPr/>
        </p:nvSpPr>
        <p:spPr bwMode="gray">
          <a:xfrm>
            <a:off x="376234" y="1371600"/>
            <a:ext cx="2628904" cy="3397250"/>
          </a:xfrm>
          <a:prstGeom prst="roundRect">
            <a:avLst>
              <a:gd name="adj" fmla="val 3435"/>
            </a:avLst>
          </a:prstGeom>
          <a:solidFill>
            <a:srgbClr val="E1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 anchorCtr="0"/>
          <a:lstStyle/>
          <a:p>
            <a:pPr marL="342900" indent="-342900">
              <a:spcBef>
                <a:spcPts val="600"/>
              </a:spcBef>
              <a:buAutoNum type="arabicPeriod"/>
            </a:pPr>
            <a:r>
              <a:rPr lang="hu-HU" sz="1600" b="1" dirty="0">
                <a:solidFill>
                  <a:schemeClr val="tx1"/>
                </a:solidFill>
                <a:latin typeface="+mj-lt"/>
              </a:rPr>
              <a:t>Online selejtező </a:t>
            </a:r>
            <a:br>
              <a:rPr lang="hu-HU" b="0" i="0" dirty="0">
                <a:solidFill>
                  <a:schemeClr val="tx1"/>
                </a:solidFill>
                <a:effectLst/>
                <a:latin typeface="Segoe UI Historic" panose="020B0502040204020203" pitchFamily="34" charset="0"/>
              </a:rPr>
            </a:br>
            <a:endParaRPr lang="en-GB" dirty="0">
              <a:solidFill>
                <a:schemeClr val="tx1"/>
              </a:solidFill>
              <a:latin typeface="+mj-lt"/>
            </a:endParaRPr>
          </a:p>
          <a:p>
            <a:pPr>
              <a:spcBef>
                <a:spcPts val="400"/>
              </a:spcBef>
              <a:buClr>
                <a:schemeClr val="tx1"/>
              </a:buClr>
            </a:pPr>
            <a:r>
              <a:rPr lang="hu-HU" sz="1399" dirty="0">
                <a:solidFill>
                  <a:schemeClr val="tx1"/>
                </a:solidFill>
                <a:latin typeface="EON Brix Sans Black"/>
              </a:rPr>
              <a:t>Időpont: október 12.</a:t>
            </a:r>
          </a:p>
          <a:p>
            <a:pPr>
              <a:spcBef>
                <a:spcPts val="400"/>
              </a:spcBef>
              <a:buClr>
                <a:schemeClr val="tx1"/>
              </a:buClr>
            </a:pPr>
            <a:endParaRPr lang="en-GB" sz="1399" dirty="0">
              <a:solidFill>
                <a:schemeClr val="tx1"/>
              </a:solidFill>
              <a:latin typeface="EON Brix Sans Black"/>
            </a:endParaRPr>
          </a:p>
          <a:p>
            <a:pPr>
              <a:spcBef>
                <a:spcPts val="400"/>
              </a:spcBef>
              <a:buClr>
                <a:schemeClr val="tx1"/>
              </a:buClr>
            </a:pPr>
            <a:r>
              <a:rPr lang="hu-HU" dirty="0" err="1">
                <a:solidFill>
                  <a:schemeClr val="tx1"/>
                </a:solidFill>
              </a:rPr>
              <a:t>Csapatoddal</a:t>
            </a:r>
            <a:r>
              <a:rPr lang="hu-HU" dirty="0">
                <a:solidFill>
                  <a:schemeClr val="tx1"/>
                </a:solidFill>
              </a:rPr>
              <a:t> egy online szakmai kvíz keretében mérhetitek össze a tudásotokat. A 20 legmagasabb pontszámot elért csapat jut tovább a középdöntőbe.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Richtungspfeil 29">
            <a:extLst>
              <a:ext uri="{FF2B5EF4-FFF2-40B4-BE49-F238E27FC236}">
                <a16:creationId xmlns:a16="http://schemas.microsoft.com/office/drawing/2014/main" id="{FCE44423-FF3F-6C0E-6823-6510A82C8660}"/>
              </a:ext>
            </a:extLst>
          </p:cNvPr>
          <p:cNvSpPr/>
          <p:nvPr/>
        </p:nvSpPr>
        <p:spPr bwMode="gray">
          <a:xfrm>
            <a:off x="3257550" y="1371600"/>
            <a:ext cx="2627313" cy="3397145"/>
          </a:xfrm>
          <a:prstGeom prst="roundRect">
            <a:avLst>
              <a:gd name="adj" fmla="val 3435"/>
            </a:avLst>
          </a:prstGeom>
          <a:solidFill>
            <a:srgbClr val="B0D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 anchorCtr="0"/>
          <a:lstStyle/>
          <a:p>
            <a:pPr>
              <a:spcBef>
                <a:spcPts val="600"/>
              </a:spcBef>
            </a:pPr>
            <a:r>
              <a:rPr lang="hu-HU" sz="1600" b="1" dirty="0">
                <a:solidFill>
                  <a:schemeClr val="tx1"/>
                </a:solidFill>
                <a:latin typeface="+mj-lt"/>
              </a:rPr>
              <a:t>2. Középdöntő</a:t>
            </a:r>
            <a:endParaRPr lang="en-GB" sz="1600" b="1" dirty="0">
              <a:solidFill>
                <a:schemeClr val="tx1"/>
              </a:solidFill>
              <a:latin typeface="+mj-lt"/>
            </a:endParaRPr>
          </a:p>
          <a:p>
            <a:endParaRPr lang="en-GB" dirty="0">
              <a:solidFill>
                <a:schemeClr val="tx1"/>
              </a:solidFill>
              <a:latin typeface="+mj-lt"/>
            </a:endParaRPr>
          </a:p>
          <a:p>
            <a:pPr>
              <a:spcBef>
                <a:spcPts val="400"/>
              </a:spcBef>
              <a:buClr>
                <a:schemeClr val="tx1"/>
              </a:buClr>
            </a:pPr>
            <a:r>
              <a:rPr lang="hu-HU" sz="1399" dirty="0">
                <a:solidFill>
                  <a:schemeClr val="tx1"/>
                </a:solidFill>
                <a:latin typeface="EON Brix Sans Black"/>
              </a:rPr>
              <a:t>Időpont: október 13 – 25.</a:t>
            </a:r>
          </a:p>
          <a:p>
            <a:pPr>
              <a:spcBef>
                <a:spcPts val="400"/>
              </a:spcBef>
              <a:buClr>
                <a:schemeClr val="tx1"/>
              </a:buClr>
            </a:pPr>
            <a:endParaRPr lang="en-GB" sz="1399" dirty="0">
              <a:solidFill>
                <a:schemeClr val="tx1"/>
              </a:solidFill>
              <a:latin typeface="EON Brix Sans Black"/>
            </a:endParaRPr>
          </a:p>
          <a:p>
            <a:pPr>
              <a:spcBef>
                <a:spcPts val="400"/>
              </a:spcBef>
              <a:buClr>
                <a:schemeClr val="tx1"/>
              </a:buClr>
            </a:pPr>
            <a:r>
              <a:rPr lang="hu-HU" dirty="0">
                <a:solidFill>
                  <a:schemeClr val="tx1"/>
                </a:solidFill>
              </a:rPr>
              <a:t>Ebben a fordulóban videós formában kell kifejtenetek az álláspontotokat és megoldási javaslataitokat egy adott szakmai probléma kapcsán. A videót az E.ON vezetőiből álló szakmai zsűri értékeli és juttatja tovább a legjobb 8 csapatot a döntőbe.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Richtungspfeil 29">
            <a:extLst>
              <a:ext uri="{FF2B5EF4-FFF2-40B4-BE49-F238E27FC236}">
                <a16:creationId xmlns:a16="http://schemas.microsoft.com/office/drawing/2014/main" id="{04FE3B55-5866-1BE4-B47C-C5C6DF7E6228}"/>
              </a:ext>
            </a:extLst>
          </p:cNvPr>
          <p:cNvSpPr/>
          <p:nvPr/>
        </p:nvSpPr>
        <p:spPr bwMode="gray">
          <a:xfrm>
            <a:off x="6137275" y="1370013"/>
            <a:ext cx="2628900" cy="3397145"/>
          </a:xfrm>
          <a:prstGeom prst="roundRect">
            <a:avLst>
              <a:gd name="adj" fmla="val 3435"/>
            </a:avLst>
          </a:prstGeom>
          <a:solidFill>
            <a:srgbClr val="7FC7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t" anchorCtr="0"/>
          <a:lstStyle/>
          <a:p>
            <a:pPr>
              <a:spcBef>
                <a:spcPts val="600"/>
              </a:spcBef>
            </a:pPr>
            <a:r>
              <a:rPr lang="hu-HU" sz="1600" b="1" dirty="0">
                <a:solidFill>
                  <a:schemeClr val="tx1"/>
                </a:solidFill>
                <a:latin typeface="+mj-lt"/>
              </a:rPr>
              <a:t>3. Döntő</a:t>
            </a:r>
            <a:endParaRPr lang="en-GB" sz="1600" b="1" dirty="0">
              <a:solidFill>
                <a:schemeClr val="tx1"/>
              </a:solidFill>
              <a:latin typeface="+mj-lt"/>
            </a:endParaRPr>
          </a:p>
          <a:p>
            <a:endParaRPr lang="en-GB" dirty="0">
              <a:solidFill>
                <a:schemeClr val="tx1"/>
              </a:solidFill>
              <a:latin typeface="+mj-lt"/>
            </a:endParaRPr>
          </a:p>
          <a:p>
            <a:pPr>
              <a:spcBef>
                <a:spcPts val="400"/>
              </a:spcBef>
              <a:buClr>
                <a:schemeClr val="tx1"/>
              </a:buClr>
            </a:pPr>
            <a:r>
              <a:rPr lang="hu-HU" sz="1399" dirty="0">
                <a:solidFill>
                  <a:schemeClr val="tx1"/>
                </a:solidFill>
                <a:latin typeface="EON Brix Sans Black"/>
              </a:rPr>
              <a:t>Időpont: november 9.</a:t>
            </a:r>
          </a:p>
          <a:p>
            <a:pPr>
              <a:spcBef>
                <a:spcPts val="400"/>
              </a:spcBef>
              <a:buClr>
                <a:schemeClr val="tx1"/>
              </a:buClr>
            </a:pPr>
            <a:endParaRPr lang="en-GB" sz="1399" dirty="0">
              <a:solidFill>
                <a:schemeClr val="tx1"/>
              </a:solidFill>
              <a:latin typeface="EON Brix Sans Black"/>
            </a:endParaRPr>
          </a:p>
          <a:p>
            <a:pPr>
              <a:spcBef>
                <a:spcPts val="400"/>
              </a:spcBef>
              <a:buClr>
                <a:schemeClr val="tx1"/>
              </a:buClr>
            </a:pPr>
            <a:r>
              <a:rPr lang="hu-HU" dirty="0">
                <a:solidFill>
                  <a:schemeClr val="tx1"/>
                </a:solidFill>
              </a:rPr>
              <a:t>Egy vitapárbajon vehettek részt, ahol az előre megadott témakörökben kell képviselnetek a pro vagy kontra oldalt, ám ez csak a döntő napján derül ki, hogy ki melyik oldalon áll. Egyenes kieséses alapon a döntőt a legjobban vitázó csapat nyeri.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434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3932AB-D18A-0206-E935-D317F7AA09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19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CB69400-2C12-F991-41ED-7520EBB9833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6237" y="378000"/>
            <a:ext cx="2628901" cy="1286634"/>
          </a:xfrm>
        </p:spPr>
        <p:txBody>
          <a:bodyPr vert="horz"/>
          <a:lstStyle/>
          <a:p>
            <a:r>
              <a:rPr lang="hu-HU" sz="3200" b="1" dirty="0"/>
              <a:t>Milyen nyeremények várnak rátok?</a:t>
            </a:r>
            <a:endParaRPr lang="en-GB" sz="32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829951-AB2F-864F-785A-13ECE1D0F73D}"/>
              </a:ext>
            </a:extLst>
          </p:cNvPr>
          <p:cNvSpPr/>
          <p:nvPr/>
        </p:nvSpPr>
        <p:spPr bwMode="gray">
          <a:xfrm>
            <a:off x="3429000" y="72000"/>
            <a:ext cx="2857500" cy="2535750"/>
          </a:xfrm>
          <a:prstGeom prst="rect">
            <a:avLst/>
          </a:prstGeom>
          <a:solidFill>
            <a:srgbClr val="F9F6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en-GB"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EE38C30F-E186-B95B-8BE9-237908652D6B}"/>
              </a:ext>
            </a:extLst>
          </p:cNvPr>
          <p:cNvSpPr/>
          <p:nvPr/>
        </p:nvSpPr>
        <p:spPr bwMode="gray">
          <a:xfrm>
            <a:off x="3429000" y="2590830"/>
            <a:ext cx="2857500" cy="2552669"/>
          </a:xfrm>
          <a:prstGeom prst="rect">
            <a:avLst/>
          </a:prstGeom>
          <a:solidFill>
            <a:srgbClr val="B0DA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en-GB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93160C6-9BA7-1F6F-4CA1-80769C9536DB}"/>
              </a:ext>
            </a:extLst>
          </p:cNvPr>
          <p:cNvSpPr/>
          <p:nvPr/>
        </p:nvSpPr>
        <p:spPr bwMode="gray">
          <a:xfrm>
            <a:off x="6286500" y="72000"/>
            <a:ext cx="2857500" cy="2535750"/>
          </a:xfrm>
          <a:prstGeom prst="rect">
            <a:avLst/>
          </a:prstGeom>
          <a:solidFill>
            <a:srgbClr val="E1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en-GB" dirty="0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570A387F-0552-6A27-628C-A9164FFF1601}"/>
              </a:ext>
            </a:extLst>
          </p:cNvPr>
          <p:cNvSpPr/>
          <p:nvPr/>
        </p:nvSpPr>
        <p:spPr bwMode="gray">
          <a:xfrm>
            <a:off x="6286500" y="2607750"/>
            <a:ext cx="2857500" cy="2535750"/>
          </a:xfrm>
          <a:prstGeom prst="rect">
            <a:avLst/>
          </a:prstGeom>
          <a:solidFill>
            <a:srgbClr val="7FC7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en-GB" dirty="0"/>
          </a:p>
        </p:txBody>
      </p:sp>
      <p:pic>
        <p:nvPicPr>
          <p:cNvPr id="10" name="Graphic 16">
            <a:extLst>
              <a:ext uri="{FF2B5EF4-FFF2-40B4-BE49-F238E27FC236}">
                <a16:creationId xmlns:a16="http://schemas.microsoft.com/office/drawing/2014/main" id="{D28D5F33-DBAA-7C6F-2152-8CB9292136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4560671" y="618130"/>
            <a:ext cx="594159" cy="594159"/>
          </a:xfrm>
          <a:prstGeom prst="rect">
            <a:avLst/>
          </a:prstGeom>
        </p:spPr>
      </p:pic>
      <p:sp>
        <p:nvSpPr>
          <p:cNvPr id="11" name="TextBox 19">
            <a:extLst>
              <a:ext uri="{FF2B5EF4-FFF2-40B4-BE49-F238E27FC236}">
                <a16:creationId xmlns:a16="http://schemas.microsoft.com/office/drawing/2014/main" id="{CEDEBA40-266C-83A7-2880-387D41E0CE38}"/>
              </a:ext>
            </a:extLst>
          </p:cNvPr>
          <p:cNvSpPr txBox="1"/>
          <p:nvPr/>
        </p:nvSpPr>
        <p:spPr bwMode="gray">
          <a:xfrm>
            <a:off x="3780709" y="1322956"/>
            <a:ext cx="2154082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>
              <a:buAutoNum type="arabicPeriod"/>
            </a:pPr>
            <a:r>
              <a:rPr lang="hu-HU" sz="1600" b="1" i="1" dirty="0">
                <a:latin typeface="+mj-lt"/>
              </a:rPr>
              <a:t>Helyezett csapat</a:t>
            </a:r>
          </a:p>
          <a:p>
            <a:pPr marL="342900" indent="-342900" algn="ctr">
              <a:buAutoNum type="arabicPeriod"/>
            </a:pPr>
            <a:endParaRPr lang="hu-HU" sz="140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hu-HU" b="1" dirty="0">
                <a:latin typeface="+mj-lt"/>
              </a:rPr>
              <a:t>750.000 Ft értékű műszaki utalvány a csapatnak</a:t>
            </a:r>
            <a:endParaRPr lang="en-GB" sz="14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TextBox 27">
            <a:extLst>
              <a:ext uri="{FF2B5EF4-FFF2-40B4-BE49-F238E27FC236}">
                <a16:creationId xmlns:a16="http://schemas.microsoft.com/office/drawing/2014/main" id="{D89E14DE-CA3F-EF70-B708-6CC4D7DC018B}"/>
              </a:ext>
            </a:extLst>
          </p:cNvPr>
          <p:cNvSpPr txBox="1"/>
          <p:nvPr/>
        </p:nvSpPr>
        <p:spPr bwMode="gray">
          <a:xfrm>
            <a:off x="3639515" y="3824123"/>
            <a:ext cx="243647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600" b="1" i="1" dirty="0">
                <a:latin typeface="+mj-lt"/>
              </a:rPr>
              <a:t>3. és 4. helyezett csapatok</a:t>
            </a:r>
          </a:p>
          <a:p>
            <a:pPr algn="ctr"/>
            <a:endParaRPr lang="hu-HU" b="1" dirty="0">
              <a:latin typeface="+mj-lt"/>
            </a:endParaRPr>
          </a:p>
          <a:p>
            <a:pPr algn="ctr"/>
            <a:r>
              <a:rPr lang="hu-HU" b="1" dirty="0">
                <a:latin typeface="+mj-lt"/>
              </a:rPr>
              <a:t>Fejenként egy</a:t>
            </a:r>
            <a:br>
              <a:rPr lang="hu-HU" b="1" dirty="0">
                <a:latin typeface="+mj-lt"/>
              </a:rPr>
            </a:br>
            <a:r>
              <a:rPr lang="hu-HU" b="1" dirty="0">
                <a:latin typeface="+mj-lt"/>
              </a:rPr>
              <a:t>EFOTT fesztivál bérlet</a:t>
            </a:r>
            <a:endParaRPr lang="en-GB" b="1" dirty="0">
              <a:latin typeface="+mj-lt"/>
            </a:endParaRPr>
          </a:p>
        </p:txBody>
      </p:sp>
      <p:pic>
        <p:nvPicPr>
          <p:cNvPr id="15" name="Graphic 33">
            <a:extLst>
              <a:ext uri="{FF2B5EF4-FFF2-40B4-BE49-F238E27FC236}">
                <a16:creationId xmlns:a16="http://schemas.microsoft.com/office/drawing/2014/main" id="{AE6F72A0-7DF5-F50D-7F64-A8835A8219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4560671" y="3153772"/>
            <a:ext cx="594159" cy="594159"/>
          </a:xfrm>
          <a:prstGeom prst="rect">
            <a:avLst/>
          </a:prstGeom>
        </p:spPr>
      </p:pic>
      <p:sp>
        <p:nvSpPr>
          <p:cNvPr id="14" name="TextBox 31">
            <a:extLst>
              <a:ext uri="{FF2B5EF4-FFF2-40B4-BE49-F238E27FC236}">
                <a16:creationId xmlns:a16="http://schemas.microsoft.com/office/drawing/2014/main" id="{AD45CC2D-3578-F6A2-030B-245CEC9B3B28}"/>
              </a:ext>
            </a:extLst>
          </p:cNvPr>
          <p:cNvSpPr txBox="1"/>
          <p:nvPr/>
        </p:nvSpPr>
        <p:spPr bwMode="gray">
          <a:xfrm>
            <a:off x="6439143" y="3824122"/>
            <a:ext cx="2542531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600" b="1" i="1" dirty="0">
                <a:latin typeface="+mj-lt"/>
              </a:rPr>
              <a:t>5. - 8. helyezett csapatok</a:t>
            </a:r>
          </a:p>
          <a:p>
            <a:pPr algn="ctr"/>
            <a:endParaRPr lang="hu-HU" b="1" dirty="0">
              <a:latin typeface="+mj-lt"/>
            </a:endParaRPr>
          </a:p>
          <a:p>
            <a:pPr algn="ctr"/>
            <a:r>
              <a:rPr lang="hu-HU" b="1" dirty="0">
                <a:latin typeface="+mj-lt"/>
              </a:rPr>
              <a:t>Fejenként egy</a:t>
            </a:r>
            <a:br>
              <a:rPr lang="hu-HU" b="1" dirty="0">
                <a:latin typeface="+mj-lt"/>
              </a:rPr>
            </a:br>
            <a:r>
              <a:rPr lang="hu-HU" b="1" dirty="0">
                <a:latin typeface="+mj-lt"/>
              </a:rPr>
              <a:t>EFOTT fesztivál napijegy</a:t>
            </a:r>
            <a:endParaRPr lang="en-GB" b="1" dirty="0">
              <a:latin typeface="+mj-lt"/>
            </a:endParaRPr>
          </a:p>
        </p:txBody>
      </p:sp>
      <p:pic>
        <p:nvPicPr>
          <p:cNvPr id="16" name="Graphic 34">
            <a:extLst>
              <a:ext uri="{FF2B5EF4-FFF2-40B4-BE49-F238E27FC236}">
                <a16:creationId xmlns:a16="http://schemas.microsoft.com/office/drawing/2014/main" id="{21281812-CEA9-C696-4ABB-C8DBC9A22E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gray">
          <a:xfrm>
            <a:off x="7479445" y="3161388"/>
            <a:ext cx="559810" cy="559810"/>
          </a:xfrm>
          <a:prstGeom prst="rect">
            <a:avLst/>
          </a:prstGeom>
        </p:spPr>
      </p:pic>
      <p:sp>
        <p:nvSpPr>
          <p:cNvPr id="12" name="TextBox 24">
            <a:extLst>
              <a:ext uri="{FF2B5EF4-FFF2-40B4-BE49-F238E27FC236}">
                <a16:creationId xmlns:a16="http://schemas.microsoft.com/office/drawing/2014/main" id="{5A4466C1-C27B-D2CF-112B-12CFEF32F969}"/>
              </a:ext>
            </a:extLst>
          </p:cNvPr>
          <p:cNvSpPr txBox="1"/>
          <p:nvPr/>
        </p:nvSpPr>
        <p:spPr bwMode="gray">
          <a:xfrm>
            <a:off x="6601469" y="1319820"/>
            <a:ext cx="2227561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u-HU" sz="1600" b="1" i="1" dirty="0">
                <a:latin typeface="+mj-lt"/>
              </a:rPr>
              <a:t>2. Helyezett csapat</a:t>
            </a:r>
          </a:p>
          <a:p>
            <a:pPr algn="ctr"/>
            <a:endParaRPr lang="hu-HU" b="1" dirty="0">
              <a:latin typeface="+mj-lt"/>
            </a:endParaRPr>
          </a:p>
          <a:p>
            <a:pPr algn="ctr"/>
            <a:r>
              <a:rPr lang="hu-HU" b="1" dirty="0">
                <a:latin typeface="+mj-lt"/>
              </a:rPr>
              <a:t>450.000 Ft értékű műszaki utalvány a csapatnak</a:t>
            </a:r>
            <a:endParaRPr lang="en-GB" b="1" dirty="0">
              <a:latin typeface="+mj-lt"/>
            </a:endParaRPr>
          </a:p>
        </p:txBody>
      </p:sp>
      <p:pic>
        <p:nvPicPr>
          <p:cNvPr id="17" name="Graphic 32">
            <a:extLst>
              <a:ext uri="{FF2B5EF4-FFF2-40B4-BE49-F238E27FC236}">
                <a16:creationId xmlns:a16="http://schemas.microsoft.com/office/drawing/2014/main" id="{C249A937-C8D9-AD33-AF4B-95783BD1FE7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gray">
          <a:xfrm>
            <a:off x="7422466" y="629772"/>
            <a:ext cx="575887" cy="575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652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37CBB2CD-9703-0A97-09A4-EF231A8A3F32}"/>
              </a:ext>
            </a:extLst>
          </p:cNvPr>
          <p:cNvSpPr/>
          <p:nvPr/>
        </p:nvSpPr>
        <p:spPr bwMode="gray">
          <a:xfrm>
            <a:off x="3429000" y="72000"/>
            <a:ext cx="5715000" cy="5071500"/>
          </a:xfrm>
          <a:prstGeom prst="rect">
            <a:avLst/>
          </a:prstGeom>
          <a:solidFill>
            <a:srgbClr val="E1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4C024DA-1D3D-2C03-F2F3-EA3176DE76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94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4C024DA-1D3D-2C03-F2F3-EA3176DE7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42BAC53-D897-CD22-DAE6-65DE1F18393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09811" y="411990"/>
            <a:ext cx="2628900" cy="858184"/>
          </a:xfrm>
        </p:spPr>
        <p:txBody>
          <a:bodyPr vert="horz"/>
          <a:lstStyle/>
          <a:p>
            <a:r>
              <a:rPr lang="hu-HU" sz="3200" b="1" dirty="0"/>
              <a:t>Alkoss csapatot!</a:t>
            </a:r>
            <a:endParaRPr lang="en-GB" sz="3200" b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D7E213-8B5E-A238-8812-F0AC4DA99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93C795C4-4A26-412B-AA90-98E97FF83D41}" type="slidenum">
              <a:rPr lang="en-GB" smtClean="0"/>
              <a:t>5</a:t>
            </a:fld>
            <a:endParaRPr lang="en-GB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BC4B73D-7CD7-A8D0-AD04-20582E04A6C3}"/>
              </a:ext>
            </a:extLst>
          </p:cNvPr>
          <p:cNvSpPr/>
          <p:nvPr/>
        </p:nvSpPr>
        <p:spPr bwMode="gray">
          <a:xfrm>
            <a:off x="5312547" y="2028973"/>
            <a:ext cx="2006655" cy="2006655"/>
          </a:xfrm>
          <a:prstGeom prst="ellipse">
            <a:avLst/>
          </a:prstGeom>
          <a:solidFill>
            <a:srgbClr val="7FC7CF"/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square" lIns="0" tIns="0" rIns="0" bIns="0" rtlCol="0" anchor="ctr"/>
          <a:lstStyle/>
          <a:p>
            <a:pPr algn="ctr"/>
            <a:r>
              <a:rPr lang="hu-HU" sz="2400" b="1" dirty="0"/>
              <a:t>3 fős álom csapat</a:t>
            </a:r>
            <a:endParaRPr lang="en-GB" sz="2400" b="1" dirty="0"/>
          </a:p>
        </p:txBody>
      </p:sp>
      <p:sp>
        <p:nvSpPr>
          <p:cNvPr id="12" name="Rechteck 13">
            <a:extLst>
              <a:ext uri="{FF2B5EF4-FFF2-40B4-BE49-F238E27FC236}">
                <a16:creationId xmlns:a16="http://schemas.microsoft.com/office/drawing/2014/main" id="{99B4BCCA-FD20-19F3-F38B-D73615FB8CFA}"/>
              </a:ext>
            </a:extLst>
          </p:cNvPr>
          <p:cNvSpPr/>
          <p:nvPr/>
        </p:nvSpPr>
        <p:spPr bwMode="gray">
          <a:xfrm>
            <a:off x="5328007" y="1085073"/>
            <a:ext cx="1968295" cy="523220"/>
          </a:xfrm>
          <a:prstGeom prst="rect">
            <a:avLst/>
          </a:prstGeom>
        </p:spPr>
        <p:txBody>
          <a:bodyPr wrap="none" anchor="b">
            <a:spAutoFit/>
          </a:bodyPr>
          <a:lstStyle/>
          <a:p>
            <a:pPr algn="ctr"/>
            <a:r>
              <a:rPr lang="hu-HU" kern="100" dirty="0">
                <a:solidFill>
                  <a:srgbClr val="000000"/>
                </a:solidFill>
              </a:rPr>
              <a:t>1 fő bármilyen területről</a:t>
            </a:r>
          </a:p>
          <a:p>
            <a:pPr algn="ctr"/>
            <a:r>
              <a:rPr lang="hu-HU" sz="1400" kern="100" dirty="0">
                <a:solidFill>
                  <a:srgbClr val="000000"/>
                </a:solidFill>
              </a:rPr>
              <a:t>- A </a:t>
            </a:r>
            <a:r>
              <a:rPr lang="hu-HU" sz="1400" kern="100" dirty="0" err="1">
                <a:solidFill>
                  <a:srgbClr val="000000"/>
                </a:solidFill>
              </a:rPr>
              <a:t>jolly</a:t>
            </a:r>
            <a:r>
              <a:rPr lang="hu-HU" sz="1400" kern="100" dirty="0">
                <a:solidFill>
                  <a:srgbClr val="000000"/>
                </a:solidFill>
              </a:rPr>
              <a:t> joke</a:t>
            </a:r>
            <a:r>
              <a:rPr lang="hu-HU" kern="100" dirty="0">
                <a:solidFill>
                  <a:srgbClr val="000000"/>
                </a:solidFill>
              </a:rPr>
              <a:t>r</a:t>
            </a:r>
            <a:endParaRPr lang="en-GB" sz="1400" dirty="0"/>
          </a:p>
        </p:txBody>
      </p:sp>
      <p:sp>
        <p:nvSpPr>
          <p:cNvPr id="13" name="Rechteck 18">
            <a:extLst>
              <a:ext uri="{FF2B5EF4-FFF2-40B4-BE49-F238E27FC236}">
                <a16:creationId xmlns:a16="http://schemas.microsoft.com/office/drawing/2014/main" id="{A9A2DC8A-99E5-185D-A971-4B578177D181}"/>
              </a:ext>
            </a:extLst>
          </p:cNvPr>
          <p:cNvSpPr/>
          <p:nvPr/>
        </p:nvSpPr>
        <p:spPr bwMode="gray">
          <a:xfrm>
            <a:off x="7644731" y="2172331"/>
            <a:ext cx="1396950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hu-HU" kern="100" dirty="0">
                <a:solidFill>
                  <a:srgbClr val="000000"/>
                </a:solidFill>
              </a:rPr>
              <a:t>1 fő villamosmérnök hallgató</a:t>
            </a:r>
            <a:endParaRPr lang="en-GB" sz="1400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A6A27212-C9EF-6EE2-8001-0EAD40001C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 rot="5400000">
            <a:off x="6208330" y="1593574"/>
            <a:ext cx="228600" cy="2286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31959071-9DCD-0F57-C5F6-D1E1AF47EEA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 rot="9000000">
            <a:off x="7440852" y="2496165"/>
            <a:ext cx="228600" cy="2286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F9C1C3FF-9533-CD34-9770-2BEE16975B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 rot="1800000">
            <a:off x="4969060" y="2495360"/>
            <a:ext cx="228600" cy="228600"/>
          </a:xfrm>
          <a:prstGeom prst="rect">
            <a:avLst/>
          </a:prstGeom>
        </p:spPr>
      </p:pic>
      <p:sp>
        <p:nvSpPr>
          <p:cNvPr id="20" name="Rechteck 18">
            <a:extLst>
              <a:ext uri="{FF2B5EF4-FFF2-40B4-BE49-F238E27FC236}">
                <a16:creationId xmlns:a16="http://schemas.microsoft.com/office/drawing/2014/main" id="{19A4B198-A74D-9D76-3AE5-2B378E6C362D}"/>
              </a:ext>
            </a:extLst>
          </p:cNvPr>
          <p:cNvSpPr/>
          <p:nvPr/>
        </p:nvSpPr>
        <p:spPr bwMode="gray">
          <a:xfrm>
            <a:off x="3380206" y="2172331"/>
            <a:ext cx="1559181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hu-HU" kern="100" dirty="0">
                <a:solidFill>
                  <a:srgbClr val="000000"/>
                </a:solidFill>
              </a:rPr>
              <a:t>1 fő villamosmérnök hallgató</a:t>
            </a:r>
            <a:endParaRPr lang="en-GB" sz="14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900A21-8F7D-A92C-DA17-5E819C3FB892}"/>
              </a:ext>
            </a:extLst>
          </p:cNvPr>
          <p:cNvSpPr txBox="1">
            <a:spLocks/>
          </p:cNvSpPr>
          <p:nvPr/>
        </p:nvSpPr>
        <p:spPr>
          <a:xfrm>
            <a:off x="349242" y="1822174"/>
            <a:ext cx="2624400" cy="305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EON Brix Sans" panose="020B0604020202020204" pitchFamily="34" charset="0"/>
              <a:buNone/>
              <a:defRPr kern="100">
                <a:latin typeface="+mn-lt"/>
              </a:defRPr>
            </a:lvl1pPr>
            <a:lvl2pPr marL="179388" lvl="1" indent="-179387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ClrTx/>
              <a:buFont typeface="EON Brix Sans" panose="020B0500000000000000" pitchFamily="34" charset="0"/>
              <a:buChar char="•"/>
              <a:defRPr sz="1400" kern="100" baseline="0"/>
            </a:lvl2pPr>
            <a:lvl3pPr marL="358775" lvl="2" indent="-179388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EON Brix Sans" panose="020B0604020202020204" pitchFamily="34" charset="0"/>
              <a:buChar char="–"/>
              <a:defRPr sz="1400" kern="100" baseline="0"/>
            </a:lvl3pPr>
            <a:lvl4pPr marL="538163" lvl="3" indent="-179387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EON Brix Sans" panose="020B0604020202020204" pitchFamily="34" charset="0"/>
              <a:buChar char="–"/>
              <a:defRPr sz="1400" kern="100" baseline="0"/>
            </a:lvl4pPr>
            <a:lvl5pPr marL="717550" lvl="4" indent="-179388">
              <a:lnSpc>
                <a:spcPts val="1750"/>
              </a:lnSpc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  <a:defRPr sz="1400" kern="100" baseline="0"/>
            </a:lvl5pPr>
            <a:lvl6pPr marL="2514600" indent="-228600">
              <a:spcBef>
                <a:spcPct val="20000"/>
              </a:spcBef>
              <a:buFont typeface="EON Brix Sans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EON Brix Sans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EON Brix Sans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EON Brix Sans" panose="020B0604020202020204" pitchFamily="34" charset="0"/>
              <a:buChar char="•"/>
              <a:defRPr sz="2000"/>
            </a:lvl9pPr>
          </a:lstStyle>
          <a:p>
            <a:r>
              <a:rPr lang="hu-HU" dirty="0"/>
              <a:t>Alkoss 3 fős csapatot, melyből legalább 2 fő alap- vagy mesterszakos villamosmérnök tanulmányokat folytat. A 3. fő érkezhet bármilyen területről.</a:t>
            </a:r>
          </a:p>
          <a:p>
            <a:endParaRPr lang="hu-HU" dirty="0"/>
          </a:p>
          <a:p>
            <a:r>
              <a:rPr lang="hu-HU" dirty="0"/>
              <a:t>Regisztráld </a:t>
            </a:r>
            <a:r>
              <a:rPr lang="hu-HU" dirty="0" err="1"/>
              <a:t>csapatodat</a:t>
            </a:r>
            <a:r>
              <a:rPr lang="hu-HU" dirty="0"/>
              <a:t> a verseny honlapján:</a:t>
            </a:r>
          </a:p>
          <a:p>
            <a:r>
              <a:rPr lang="en-GB" dirty="0">
                <a:hlinkClick r:id="rId8"/>
              </a:rPr>
              <a:t>https://www.challengeon.hu/</a:t>
            </a:r>
            <a:endParaRPr lang="hu-HU" dirty="0"/>
          </a:p>
          <a:p>
            <a:r>
              <a:rPr lang="hu-HU" b="1" dirty="0"/>
              <a:t>Jelentkezési határidő: október 2.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653223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C05D94-F876-F6D1-1DAC-9EB3739353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080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CD9B1D6-12C3-8517-8C37-72371E9820A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" b="49"/>
          <a:stretch>
            <a:fillRect/>
          </a:stretch>
        </p:blipFill>
        <p:spPr bwMode="gray"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B795078-C9F2-2A98-EC82-EA1C0D22D64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8001" y="306000"/>
            <a:ext cx="4068588" cy="692497"/>
          </a:xfrm>
        </p:spPr>
        <p:txBody>
          <a:bodyPr vert="horz"/>
          <a:lstStyle/>
          <a:p>
            <a:r>
              <a:rPr lang="hu-HU" sz="4400" b="1" dirty="0">
                <a:solidFill>
                  <a:schemeClr val="accent1"/>
                </a:solidFill>
              </a:rPr>
              <a:t>Ott találkozunk!</a:t>
            </a:r>
            <a:endParaRPr lang="en-GB" sz="4400" b="1" dirty="0">
              <a:solidFill>
                <a:schemeClr val="accent1"/>
              </a:solidFill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B8BF53DE-969A-4672-845D-6DC249DFAB9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6475" y="3495513"/>
            <a:ext cx="1847525" cy="1847525"/>
          </a:xfrm>
          <a:prstGeom prst="rect">
            <a:avLst/>
          </a:prstGeom>
        </p:spPr>
      </p:pic>
      <p:sp>
        <p:nvSpPr>
          <p:cNvPr id="9" name="Szövegdoboz 3">
            <a:extLst>
              <a:ext uri="{FF2B5EF4-FFF2-40B4-BE49-F238E27FC236}">
                <a16:creationId xmlns:a16="http://schemas.microsoft.com/office/drawing/2014/main" id="{8350C6C4-69A6-D1B0-B2FF-CF18066C81DE}"/>
              </a:ext>
            </a:extLst>
          </p:cNvPr>
          <p:cNvSpPr txBox="1"/>
          <p:nvPr/>
        </p:nvSpPr>
        <p:spPr>
          <a:xfrm>
            <a:off x="378001" y="1881129"/>
            <a:ext cx="4258817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hu-HU" sz="2400" b="1" dirty="0">
                <a:latin typeface="EON Brix Sans" panose="020B0500000000000000" pitchFamily="34" charset="-18"/>
              </a:rPr>
              <a:t>www.</a:t>
            </a:r>
            <a:r>
              <a:rPr kumimoji="0" lang="hu-HU" sz="2400" b="1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ON Brix Sans" panose="020B0500000000000000" pitchFamily="34" charset="-18"/>
              </a:rPr>
              <a:t>challengeon.hu</a:t>
            </a:r>
            <a:endParaRPr lang="hu-HU" sz="2400" b="1" u="sng" dirty="0">
              <a:latin typeface="EON Brix Sans" panose="020B0500000000000000" pitchFamily="34" charset="-18"/>
            </a:endParaRPr>
          </a:p>
          <a:p>
            <a:pPr>
              <a:spcAft>
                <a:spcPts val="1200"/>
              </a:spcAft>
            </a:pPr>
            <a:r>
              <a:rPr lang="hu-HU" sz="2400" b="1" dirty="0">
                <a:latin typeface="EON Brix Sans" panose="020B0500000000000000" pitchFamily="34" charset="-18"/>
              </a:rPr>
              <a:t>fb.com/</a:t>
            </a:r>
            <a:r>
              <a:rPr lang="hu-HU" sz="2400" b="1" dirty="0" err="1">
                <a:latin typeface="EON Brix Sans" panose="020B0500000000000000" pitchFamily="34" charset="-18"/>
              </a:rPr>
              <a:t>challengeon</a:t>
            </a:r>
            <a:endParaRPr lang="hu-HU" sz="2400" b="1" dirty="0">
              <a:latin typeface="EON Brix Sans" panose="020B0500000000000000" pitchFamily="34" charset="-18"/>
            </a:endParaRP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09069E44-BB9F-4D20-85AB-9F01DD7AA9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001" y="3284504"/>
            <a:ext cx="1552996" cy="1552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322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SIS" val="EONVorlage_BrixSans"/>
  <p:tag name="VERSION" val="1.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-on Enjoyment Template">
  <a:themeElements>
    <a:clrScheme name="EON 2022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EA1B0A"/>
      </a:accent1>
      <a:accent2>
        <a:srgbClr val="B00402"/>
      </a:accent2>
      <a:accent3>
        <a:srgbClr val="1EA2B1"/>
      </a:accent3>
      <a:accent4>
        <a:srgbClr val="E3E000"/>
      </a:accent4>
      <a:accent5>
        <a:srgbClr val="76020D"/>
      </a:accent5>
      <a:accent6>
        <a:srgbClr val="7FC7CF"/>
      </a:accent6>
      <a:hlink>
        <a:srgbClr val="0000FF"/>
      </a:hlink>
      <a:folHlink>
        <a:srgbClr val="800080"/>
      </a:folHlink>
    </a:clrScheme>
    <a:fontScheme name="EON Brix Sans">
      <a:majorFont>
        <a:latin typeface="EON Brix Sans Black"/>
        <a:ea typeface=""/>
        <a:cs typeface=""/>
      </a:majorFont>
      <a:minorFont>
        <a:latin typeface="EON Brix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>
    <a:extraClrScheme>
      <a:clrScheme name="EO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1C0A"/>
        </a:accent1>
        <a:accent2>
          <a:srgbClr val="B00402"/>
        </a:accent2>
        <a:accent3>
          <a:srgbClr val="5CC1CB"/>
        </a:accent3>
        <a:accent4>
          <a:srgbClr val="E3E000"/>
        </a:accent4>
        <a:accent5>
          <a:srgbClr val="C44341"/>
        </a:accent5>
        <a:accent6>
          <a:srgbClr val="85D1D8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>
      <a:srgbClr val="F7E8DA"/>
    </a:custClr>
    <a:custClr>
      <a:srgbClr val="F6C1B0"/>
    </a:custClr>
    <a:custClr>
      <a:srgbClr val="F59A86"/>
    </a:custClr>
    <a:custClr>
      <a:srgbClr val="F05B48"/>
    </a:custClr>
    <a:custClr>
      <a:srgbClr val="EA1B0A"/>
    </a:custClr>
    <a:custClr>
      <a:srgbClr val="E01000"/>
    </a:custClr>
    <a:custClr>
      <a:srgbClr val="C90A01"/>
    </a:custClr>
    <a:custClr>
      <a:srgbClr val="B00402"/>
    </a:custClr>
    <a:custClr>
      <a:srgbClr val="76020D"/>
    </a:custClr>
    <a:custClr>
      <a:srgbClr val="FFFFFF"/>
    </a:custClr>
    <a:custClr>
      <a:srgbClr val="F7F4D9"/>
    </a:custClr>
    <a:custClr>
      <a:srgbClr val="F2EFA3"/>
    </a:custClr>
    <a:custClr>
      <a:srgbClr val="EDEA6C"/>
    </a:custClr>
    <a:custClr>
      <a:srgbClr val="E8E536"/>
    </a:custClr>
    <a:custClr>
      <a:srgbClr val="E3E000"/>
    </a:custClr>
    <a:custClr>
      <a:srgbClr val="9EB22D"/>
    </a:custClr>
    <a:custClr>
      <a:srgbClr val="61822A"/>
    </a:custClr>
    <a:custClr>
      <a:srgbClr val="3D5327"/>
    </a:custClr>
    <a:custClr>
      <a:srgbClr val="1C301E"/>
    </a:custClr>
    <a:custClr>
      <a:srgbClr val="FFFFFF"/>
    </a:custClr>
    <a:custClr>
      <a:srgbClr val="E1EDED"/>
    </a:custClr>
    <a:custClr>
      <a:srgbClr val="B0DADE"/>
    </a:custClr>
    <a:custClr>
      <a:srgbClr val="7FC7CF"/>
    </a:custClr>
    <a:custClr>
      <a:srgbClr val="4FB5C0"/>
    </a:custClr>
    <a:custClr>
      <a:srgbClr val="1EA2B1"/>
    </a:custClr>
    <a:custClr>
      <a:srgbClr val="178A9E"/>
    </a:custClr>
    <a:custClr>
      <a:srgbClr val="0F738A"/>
    </a:custClr>
    <a:custClr>
      <a:srgbClr val="144D61"/>
    </a:custClr>
    <a:custClr>
      <a:srgbClr val="182739"/>
    </a:custClr>
    <a:custClr>
      <a:srgbClr val="FFFFFF"/>
    </a:custClr>
    <a:custClr>
      <a:srgbClr val="FFFFFF"/>
    </a:custClr>
    <a:custClr>
      <a:srgbClr val="FCFBFA"/>
    </a:custClr>
    <a:custClr>
      <a:srgbClr val="F9F6F4"/>
    </a:custClr>
    <a:custClr>
      <a:srgbClr val="E6E3E1"/>
    </a:custClr>
    <a:custClr>
      <a:srgbClr val="CCCBCA"/>
    </a:custClr>
    <a:custClr>
      <a:srgbClr val="999999"/>
    </a:custClr>
    <a:custClr>
      <a:srgbClr val="666666"/>
    </a:custClr>
    <a:custClr>
      <a:srgbClr val="262626"/>
    </a:custClr>
    <a:custClr>
      <a:srgbClr val="000000"/>
    </a:custClr>
    <a:custClr>
      <a:srgbClr val="FFFFFF"/>
    </a:custClr>
    <a:custClr>
      <a:srgbClr val="F8E3D0"/>
    </a:custClr>
    <a:custClr>
      <a:srgbClr val="F1D7BD"/>
    </a:custClr>
    <a:custClr>
      <a:srgbClr val="E9CBA9"/>
    </a:custClr>
    <a:custClr>
      <a:srgbClr val="DEBA95"/>
    </a:custClr>
    <a:custClr>
      <a:srgbClr val="D2A981"/>
    </a:custClr>
    <a:custClr>
      <a:srgbClr val="AF8A66"/>
    </a:custClr>
    <a:custClr>
      <a:srgbClr val="8C6B4C"/>
    </a:custClr>
    <a:custClr>
      <a:srgbClr val="4F3824"/>
    </a:custClr>
    <a:custClr>
      <a:srgbClr val="301E10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_2022_scr04.potx" id="{6F5144B3-5876-4DB1-B11E-1BFEFE1FA9DF}" vid="{94EA6620-9031-44E3-9A17-1323BF0FDF4E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EON Brix San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EON Brix San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EON Brix Sans"/>
        <a:font script="Hebr" typeface="EON Brix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ON Brix Sans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EON Brix San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EON Brix Sans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EON Brix Sans"/>
        <a:font script="Hebr" typeface="EON Brix Sans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ON Brix Sans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2E56161DB05C4488188F41286798B95" ma:contentTypeVersion="12" ma:contentTypeDescription="Ein neues Dokument erstellen." ma:contentTypeScope="" ma:versionID="c8ea0c36936265f8da13ffde4288a24d">
  <xsd:schema xmlns:xsd="http://www.w3.org/2001/XMLSchema" xmlns:xs="http://www.w3.org/2001/XMLSchema" xmlns:p="http://schemas.microsoft.com/office/2006/metadata/properties" xmlns:ns2="ffd4968f-9387-4b8c-969c-1577143d9579" xmlns:ns3="808e7e3d-2c51-4b8d-87af-296daf512c60" targetNamespace="http://schemas.microsoft.com/office/2006/metadata/properties" ma:root="true" ma:fieldsID="a7c929abd7a7216d8586df9c970a1c3d" ns2:_="" ns3:_="">
    <xsd:import namespace="ffd4968f-9387-4b8c-969c-1577143d9579"/>
    <xsd:import namespace="808e7e3d-2c51-4b8d-87af-296daf512c6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d4968f-9387-4b8c-969c-1577143d95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50d7b7d2-ff73-4e2a-8bf5-1c01b67f84ca}" ma:internalName="TaxCatchAll" ma:showField="CatchAllData" ma:web="ffd4968f-9387-4b8c-969c-1577143d95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8e7e3d-2c51-4b8d-87af-296daf512c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ed2bc115-f314-4df2-a102-4eef0e4978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fd4968f-9387-4b8c-969c-1577143d9579" xsi:nil="true"/>
    <lcf76f155ced4ddcb4097134ff3c332f xmlns="808e7e3d-2c51-4b8d-87af-296daf512c6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B4F89E9-6064-49D3-BFA4-029A7F3996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d4968f-9387-4b8c-969c-1577143d9579"/>
    <ds:schemaRef ds:uri="808e7e3d-2c51-4b8d-87af-296daf512c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B784139-23CA-46B6-AC85-DCE910C6DE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5D55D9C-11DD-4245-9168-405A5E0E78D5}">
  <ds:schemaRefs>
    <ds:schemaRef ds:uri="http://purl.org/dc/terms/"/>
    <ds:schemaRef ds:uri="808e7e3d-2c51-4b8d-87af-296daf512c60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ffd4968f-9387-4b8c-969c-1577143d9579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_2022_scr04</Template>
  <TotalTime>150</TotalTime>
  <Words>345</Words>
  <Application>Microsoft Office PowerPoint</Application>
  <PresentationFormat>Diavetítés a képernyőre (16:9 oldalarány)</PresentationFormat>
  <Paragraphs>53</Paragraphs>
  <Slides>6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6</vt:i4>
      </vt:variant>
    </vt:vector>
  </HeadingPairs>
  <TitlesOfParts>
    <vt:vector size="12" baseType="lpstr">
      <vt:lpstr>EON Brix Sans</vt:lpstr>
      <vt:lpstr>EON Brix Sans Black</vt:lpstr>
      <vt:lpstr>Segoe UI Historic</vt:lpstr>
      <vt:lpstr>Wingdings</vt:lpstr>
      <vt:lpstr>e-on Enjoyment Template</vt:lpstr>
      <vt:lpstr>think-cell Slide</vt:lpstr>
      <vt:lpstr>Challenge.ON</vt:lpstr>
      <vt:lpstr>Hogyan segíthet az AI és az IoT technológia a villamosenergia elosztóhálózatok rugalmasságának növelésében? </vt:lpstr>
      <vt:lpstr>A verseny felépítése</vt:lpstr>
      <vt:lpstr>Milyen nyeremények várnak rátok?</vt:lpstr>
      <vt:lpstr>Alkoss csapatot!</vt:lpstr>
      <vt:lpstr>Ott találkozunk!</vt:lpstr>
    </vt:vector>
  </TitlesOfParts>
  <Manager>Name Nachname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ceholder for the presentation  title (maximum three lines)</dc:title>
  <dc:creator>Peter Backeberg</dc:creator>
  <dc:description>PowerPoint Template</dc:description>
  <cp:lastModifiedBy>Cecilia</cp:lastModifiedBy>
  <cp:revision>33</cp:revision>
  <dcterms:created xsi:type="dcterms:W3CDTF">2022-11-15T11:33:55Z</dcterms:created>
  <dcterms:modified xsi:type="dcterms:W3CDTF">2023-09-04T09:2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E56161DB05C4488188F41286798B95</vt:lpwstr>
  </property>
</Properties>
</file>